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540" r:id="rId2"/>
    <p:sldId id="267" r:id="rId3"/>
    <p:sldId id="346" r:id="rId4"/>
    <p:sldId id="349" r:id="rId5"/>
    <p:sldId id="355" r:id="rId6"/>
    <p:sldId id="356" r:id="rId7"/>
    <p:sldId id="358" r:id="rId8"/>
    <p:sldId id="359" r:id="rId9"/>
    <p:sldId id="362" r:id="rId10"/>
    <p:sldId id="512" r:id="rId11"/>
    <p:sldId id="514" r:id="rId12"/>
    <p:sldId id="365" r:id="rId13"/>
    <p:sldId id="366" r:id="rId14"/>
    <p:sldId id="367" r:id="rId15"/>
    <p:sldId id="370" r:id="rId16"/>
    <p:sldId id="417" r:id="rId17"/>
    <p:sldId id="418" r:id="rId18"/>
    <p:sldId id="447" r:id="rId19"/>
    <p:sldId id="383" r:id="rId20"/>
  </p:sldIdLst>
  <p:sldSz cx="12192000" cy="6858000"/>
  <p:notesSz cx="6858000" cy="9144000"/>
  <p:embeddedFontLst>
    <p:embeddedFont>
      <p:font typeface="Arial Narrow" panose="020B0604020202020204" pitchFamily="34" charset="0"/>
      <p:regular r:id="rId23"/>
      <p:bold r:id="rId24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итульные слайды" id="{793A1F80-5F83-9946-B66C-28756F32B332}">
          <p14:sldIdLst>
            <p14:sldId id="540"/>
            <p14:sldId id="267"/>
            <p14:sldId id="346"/>
          </p14:sldIdLst>
        </p14:section>
        <p14:section name="Содержание" id="{E1CC8580-4012-BF4E-B657-61B4DF2060FA}">
          <p14:sldIdLst>
            <p14:sldId id="349"/>
          </p14:sldIdLst>
        </p14:section>
        <p14:section name="Контент" id="{771D3400-D527-1846-9DF4-48B9CB807B17}">
          <p14:sldIdLst>
            <p14:sldId id="355"/>
            <p14:sldId id="356"/>
            <p14:sldId id="358"/>
            <p14:sldId id="359"/>
          </p14:sldIdLst>
        </p14:section>
        <p14:section name="Таблицы" id="{DBCE5C0A-B2A7-5E4E-8AEC-7AE2FA6CEA33}">
          <p14:sldIdLst>
            <p14:sldId id="362"/>
            <p14:sldId id="512"/>
          </p14:sldIdLst>
        </p14:section>
        <p14:section name="Структуры" id="{6894D043-C9C8-D242-A824-08F2CA794963}">
          <p14:sldIdLst>
            <p14:sldId id="514"/>
          </p14:sldIdLst>
        </p14:section>
        <p14:section name="Графики и диаграммы" id="{20611CA3-E06A-B34A-B591-E9FC70527C6A}">
          <p14:sldIdLst>
            <p14:sldId id="365"/>
            <p14:sldId id="366"/>
            <p14:sldId id="367"/>
            <p14:sldId id="370"/>
          </p14:sldIdLst>
        </p14:section>
        <p14:section name="Процесс" id="{F47B7DDC-7DEB-F642-B5B2-E0A233DD4180}">
          <p14:sldIdLst/>
        </p14:section>
        <p14:section name="Текстовые боксы" id="{90E06915-0FDE-0146-A013-5317DEC5B1DA}">
          <p14:sldIdLst>
            <p14:sldId id="417"/>
            <p14:sldId id="418"/>
          </p14:sldIdLst>
        </p14:section>
        <p14:section name="Roadmaps, timilines" id="{0E3D7132-F5C8-FA49-8985-5084A9F99F4C}">
          <p14:sldIdLst>
            <p14:sldId id="447"/>
          </p14:sldIdLst>
        </p14:section>
        <p14:section name="Спасибо (заключительный слайд)" id="{C978FC24-D01D-B547-A0BB-012B37A5DD23}">
          <p14:sldIdLst>
            <p14:sldId id="38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619" userDrawn="1">
          <p15:clr>
            <a:srgbClr val="A4A3A4"/>
          </p15:clr>
        </p15:guide>
        <p15:guide id="3" orient="horz" pos="323" userDrawn="1">
          <p15:clr>
            <a:srgbClr val="A4A3A4"/>
          </p15:clr>
        </p15:guide>
        <p15:guide id="6" pos="370" userDrawn="1">
          <p15:clr>
            <a:srgbClr val="A4A3A4"/>
          </p15:clr>
        </p15:guide>
        <p15:guide id="8" orient="horz" pos="1003" userDrawn="1">
          <p15:clr>
            <a:srgbClr val="A4A3A4"/>
          </p15:clr>
        </p15:guide>
        <p15:guide id="9" pos="7378" userDrawn="1">
          <p15:clr>
            <a:srgbClr val="A4A3A4"/>
          </p15:clr>
        </p15:guide>
        <p15:guide id="10" pos="751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BC00"/>
    <a:srgbClr val="236192"/>
    <a:srgbClr val="CDDEE6"/>
    <a:srgbClr val="98AAB3"/>
    <a:srgbClr val="B8CDDB"/>
    <a:srgbClr val="B5C0C6"/>
    <a:srgbClr val="8398B0"/>
    <a:srgbClr val="D21610"/>
    <a:srgbClr val="7E929A"/>
    <a:srgbClr val="30BC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46"/>
    <p:restoredTop sz="75000"/>
  </p:normalViewPr>
  <p:slideViewPr>
    <p:cSldViewPr snapToGrid="0" snapToObjects="1" showGuides="1">
      <p:cViewPr varScale="1">
        <p:scale>
          <a:sx n="114" d="100"/>
          <a:sy n="114" d="100"/>
        </p:scale>
        <p:origin x="328" y="176"/>
      </p:cViewPr>
      <p:guideLst>
        <p:guide orient="horz" pos="3816"/>
        <p:guide pos="619"/>
        <p:guide orient="horz" pos="323"/>
        <p:guide pos="370"/>
        <p:guide orient="horz" pos="1003"/>
        <p:guide pos="7378"/>
        <p:guide pos="751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90" d="100"/>
          <a:sy n="90" d="100"/>
        </p:scale>
        <p:origin x="3840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1.fntdata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38734507365799"/>
          <c:y val="0.29240648125511898"/>
          <c:w val="0.55582587509594195"/>
          <c:h val="0.37800377687323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18000">
                  <a:schemeClr val="tx1">
                    <a:lumMod val="50000"/>
                    <a:lumOff val="50000"/>
                  </a:schemeClr>
                </a:gs>
                <a:gs pos="100000">
                  <a:schemeClr val="bg2"/>
                </a:gs>
              </a:gsLst>
              <a:lin ang="0" scaled="0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17000">
                    <a:schemeClr val="tx2"/>
                  </a:gs>
                  <a:gs pos="100000">
                    <a:schemeClr val="bg1"/>
                  </a:gs>
                </a:gsLst>
                <a:lin ang="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7D5-2C41-99C6-41BCE78C4E99}"/>
              </c:ext>
            </c:extLst>
          </c:dPt>
          <c:dPt>
            <c:idx val="1"/>
            <c:invertIfNegative val="0"/>
            <c:bubble3D val="0"/>
            <c:spPr>
              <a:gradFill>
                <a:gsLst>
                  <a:gs pos="18000">
                    <a:schemeClr val="accent3"/>
                  </a:gs>
                  <a:gs pos="100000">
                    <a:schemeClr val="bg1"/>
                  </a:gs>
                </a:gsLst>
                <a:lin ang="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7D5-2C41-99C6-41BCE78C4E99}"/>
              </c:ext>
            </c:extLst>
          </c:dPt>
          <c:dLbls>
            <c:dLbl>
              <c:idx val="0"/>
              <c:layout>
                <c:manualLayout>
                  <c:x val="-2.0121309316752701E-2"/>
                  <c:y val="-4.212576994509830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96683402223701"/>
                      <c:h val="0.3226539749219070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7D5-2C41-99C6-41BCE78C4E99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3200" b="0" i="0" u="none" strike="noStrike" kern="1200" spc="-15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7D5-2C41-99C6-41BCE78C4E9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200" b="0" i="0" u="none" strike="noStrike" kern="1200" spc="-15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9</c:v>
                </c:pt>
                <c:pt idx="1">
                  <c:v>2020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1642.7</c:v>
                </c:pt>
                <c:pt idx="1">
                  <c:v>177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7D5-2C41-99C6-41BCE78C4E9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8604456"/>
        <c:axId val="8604848"/>
      </c:barChart>
      <c:catAx>
        <c:axId val="86044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spc="-1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604848"/>
        <c:crosses val="autoZero"/>
        <c:auto val="1"/>
        <c:lblAlgn val="ctr"/>
        <c:lblOffset val="100"/>
        <c:noMultiLvlLbl val="0"/>
      </c:catAx>
      <c:valAx>
        <c:axId val="8604848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" sourceLinked="0"/>
        <c:majorTickMark val="none"/>
        <c:minorTickMark val="none"/>
        <c:tickLblPos val="nextTo"/>
        <c:crossAx val="86044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8027601012879"/>
          <c:y val="9.1819075995194996E-2"/>
          <c:w val="0.43801587636709399"/>
          <c:h val="0.5356150199173299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gradFill flip="none" rotWithShape="1">
                <a:gsLst>
                  <a:gs pos="55000">
                    <a:schemeClr val="accent3"/>
                  </a:gs>
                  <a:gs pos="100000">
                    <a:schemeClr val="accent3">
                      <a:lumMod val="20000"/>
                      <a:lumOff val="80000"/>
                    </a:schemeClr>
                  </a:gs>
                </a:gsLst>
                <a:lin ang="2700000" scaled="1"/>
                <a:tileRect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996-7346-890D-826F723EF38B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996-7346-890D-826F723EF38B}"/>
              </c:ext>
            </c:extLst>
          </c:dPt>
          <c:dPt>
            <c:idx val="2"/>
            <c:bubble3D val="0"/>
            <c:spPr>
              <a:gradFill>
                <a:gsLst>
                  <a:gs pos="33000">
                    <a:schemeClr val="tx2"/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1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996-7346-890D-826F723EF38B}"/>
              </c:ext>
            </c:extLst>
          </c:dPt>
          <c:dPt>
            <c:idx val="3"/>
            <c:bubble3D val="0"/>
            <c:spPr>
              <a:gradFill flip="none" rotWithShape="1">
                <a:gsLst>
                  <a:gs pos="0">
                    <a:schemeClr val="accent4"/>
                  </a:gs>
                  <a:gs pos="100000">
                    <a:schemeClr val="accent4">
                      <a:lumMod val="40000"/>
                      <a:lumOff val="60000"/>
                    </a:schemeClr>
                  </a:gs>
                </a:gsLst>
                <a:lin ang="5400000" scaled="1"/>
                <a:tileRect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996-7346-890D-826F723EF38B}"/>
              </c:ext>
            </c:extLst>
          </c:dPt>
          <c:dLbls>
            <c:dLbl>
              <c:idx val="0"/>
              <c:layout>
                <c:manualLayout>
                  <c:x val="0.151500146842099"/>
                  <c:y val="2.058428952879140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4000" b="0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376331212154499"/>
                      <c:h val="0.40397911296798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996-7346-890D-826F723EF38B}"/>
                </c:ext>
              </c:extLst>
            </c:dLbl>
            <c:dLbl>
              <c:idx val="1"/>
              <c:layout>
                <c:manualLayout>
                  <c:x val="2.88571708270665E-2"/>
                  <c:y val="9.99802725353867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996-7346-890D-826F723EF38B}"/>
                </c:ext>
              </c:extLst>
            </c:dLbl>
            <c:dLbl>
              <c:idx val="2"/>
              <c:layout>
                <c:manualLayout>
                  <c:x val="-6.2523870125310896E-2"/>
                  <c:y val="0.117623850041631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996-7346-890D-826F723EF38B}"/>
                </c:ext>
              </c:extLst>
            </c:dLbl>
            <c:dLbl>
              <c:idx val="3"/>
              <c:layout>
                <c:manualLayout>
                  <c:x val="-7.9357219774433094E-2"/>
                  <c:y val="-6.7633713773938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996-7346-890D-826F723EF38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Значение данных</c:v>
                </c:pt>
                <c:pt idx="1">
                  <c:v>Значение данных</c:v>
                </c:pt>
                <c:pt idx="2">
                  <c:v>Значение данных</c:v>
                </c:pt>
                <c:pt idx="3">
                  <c:v>Значение данных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45</c:v>
                </c:pt>
                <c:pt idx="1">
                  <c:v>0.15</c:v>
                </c:pt>
                <c:pt idx="2">
                  <c:v>0.35</c:v>
                </c:pt>
                <c:pt idx="3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996-7346-890D-826F723EF3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2369705802658199E-2"/>
          <c:y val="0.71631257565667905"/>
          <c:w val="0.48164095052188099"/>
          <c:h val="0.201350729314178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982233318396198"/>
          <c:y val="0.113349578697044"/>
          <c:w val="0.55814514649083502"/>
          <c:h val="0.6689497078770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ыручка в 2015 году млрд долл. США (долл./руб. 60,96)</c:v>
                </c:pt>
              </c:strCache>
            </c:strRef>
          </c:tx>
          <c:spPr>
            <a:gradFill>
              <a:gsLst>
                <a:gs pos="33000">
                  <a:schemeClr val="accent3"/>
                </a:gs>
                <a:gs pos="100000">
                  <a:schemeClr val="accent3">
                    <a:lumMod val="20000"/>
                    <a:lumOff val="80000"/>
                  </a:schemeClr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33000">
                    <a:schemeClr val="accent3"/>
                  </a:gs>
                  <a:gs pos="100000">
                    <a:schemeClr val="accent3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0CC-A943-A12C-A631F243BF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200" b="0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Авиационный</c:v>
                </c:pt>
                <c:pt idx="1">
                  <c:v>Электронный</c:v>
                </c:pt>
                <c:pt idx="2">
                  <c:v>Вооружение</c:v>
                </c:pt>
                <c:pt idx="3">
                  <c:v>Автомобилестроение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CC-A943-A12C-A631F243BFF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ыручка в 2015 году млрд долл. США (долл./руб. 60,96)2</c:v>
                </c:pt>
              </c:strCache>
            </c:strRef>
          </c:tx>
          <c:spPr>
            <a:gradFill>
              <a:gsLst>
                <a:gs pos="100000">
                  <a:schemeClr val="tx2">
                    <a:lumMod val="20000"/>
                    <a:lumOff val="80000"/>
                  </a:schemeClr>
                </a:gs>
                <a:gs pos="33000">
                  <a:schemeClr val="tx2"/>
                </a:gs>
              </a:gsLst>
              <a:lin ang="16200000" scaled="1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Авиационный</c:v>
                </c:pt>
                <c:pt idx="1">
                  <c:v>Электронный</c:v>
                </c:pt>
                <c:pt idx="2">
                  <c:v>Вооружение</c:v>
                </c:pt>
                <c:pt idx="3">
                  <c:v>Автомобилестроение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0CC-A943-A12C-A631F243BF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21"/>
        <c:overlap val="-100"/>
        <c:axId val="8599360"/>
        <c:axId val="8600536"/>
      </c:barChart>
      <c:catAx>
        <c:axId val="8599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600536"/>
        <c:crosses val="autoZero"/>
        <c:auto val="1"/>
        <c:lblAlgn val="ctr"/>
        <c:lblOffset val="100"/>
        <c:noMultiLvlLbl val="0"/>
      </c:catAx>
      <c:valAx>
        <c:axId val="8600536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599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5.0948509485094801E-2"/>
          <c:y val="0.40464531282111499"/>
          <c:w val="0.17952423020293201"/>
          <c:h val="0.426356947828894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23069173671599"/>
          <c:y val="0.15311004784689"/>
          <c:w val="0.87939264500842196"/>
          <c:h val="0.6803199839254540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square"/>
            <c:size val="8"/>
            <c:spPr>
              <a:solidFill>
                <a:schemeClr val="accent3"/>
              </a:solidFill>
              <a:ln w="9525">
                <a:noFill/>
              </a:ln>
              <a:effectLst/>
            </c:spPr>
          </c:marker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$B$2:$B$6</c:f>
              <c:numCache>
                <c:formatCode>0</c:formatCode>
                <c:ptCount val="5"/>
                <c:pt idx="0">
                  <c:v>970</c:v>
                </c:pt>
                <c:pt idx="1">
                  <c:v>1200</c:v>
                </c:pt>
                <c:pt idx="2">
                  <c:v>1300</c:v>
                </c:pt>
                <c:pt idx="3">
                  <c:v>1600</c:v>
                </c:pt>
                <c:pt idx="4">
                  <c:v>17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361-3347-B6EE-E16B121B5C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597400"/>
        <c:axId val="8600928"/>
      </c:lineChart>
      <c:catAx>
        <c:axId val="8597400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12700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600928"/>
        <c:crosses val="autoZero"/>
        <c:auto val="1"/>
        <c:lblAlgn val="ctr"/>
        <c:lblOffset val="100"/>
        <c:noMultiLvlLbl val="0"/>
      </c:catAx>
      <c:valAx>
        <c:axId val="8600928"/>
        <c:scaling>
          <c:orientation val="minMax"/>
          <c:max val="200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0"/>
        <c:majorTickMark val="in"/>
        <c:minorTickMark val="none"/>
        <c:tickLblPos val="nextTo"/>
        <c:spPr>
          <a:noFill/>
          <a:ln w="12700"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59740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298063348223299"/>
          <c:y val="3.9513677811550102E-2"/>
          <c:w val="0.47968161445158702"/>
          <c:h val="0.8480750544479810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гражданской продукции в выручке (%)</c:v>
                </c:pt>
              </c:strCache>
            </c:strRef>
          </c:tx>
          <c:spPr>
            <a:gradFill flip="none" rotWithShape="1">
              <a:gsLst>
                <a:gs pos="100000">
                  <a:schemeClr val="accent3">
                    <a:lumMod val="40000"/>
                    <a:lumOff val="60000"/>
                  </a:schemeClr>
                </a:gs>
                <a:gs pos="55000">
                  <a:schemeClr val="accent3"/>
                </a:gs>
              </a:gsLst>
              <a:lin ang="0" scaled="1"/>
              <a:tileRect/>
            </a:gradFill>
            <a:ln w="19050"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1.7121258324359299E-16"/>
                  <c:y val="-1.21580547112462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FDD-7241-9FDE-45BC68B65B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8</c:v>
                </c:pt>
                <c:pt idx="1">
                  <c:v>26</c:v>
                </c:pt>
                <c:pt idx="2">
                  <c:v>25.1</c:v>
                </c:pt>
                <c:pt idx="3">
                  <c:v>29.1</c:v>
                </c:pt>
                <c:pt idx="4">
                  <c:v>3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DD-7241-9FDE-45BC68B65B2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ентабельность по консолидированной EBITDA (%)</c:v>
                </c:pt>
              </c:strCache>
            </c:strRef>
          </c:tx>
          <c:spPr>
            <a:gradFill flip="none" rotWithShape="1">
              <a:gsLst>
                <a:gs pos="100000">
                  <a:schemeClr val="accent5">
                    <a:lumMod val="40000"/>
                    <a:lumOff val="60000"/>
                  </a:schemeClr>
                </a:gs>
                <a:gs pos="59000">
                  <a:schemeClr val="accent5"/>
                </a:gs>
              </a:gsLst>
              <a:lin ang="0" scaled="1"/>
              <a:tileRect/>
            </a:gra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16737200754067E-3"/>
                  <c:y val="-1.82370820668694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FDD-7241-9FDE-45BC68B65B24}"/>
                </c:ext>
              </c:extLst>
            </c:dLbl>
            <c:dLbl>
              <c:idx val="1"/>
              <c:layout>
                <c:manualLayout>
                  <c:x val="1.16737200754067E-3"/>
                  <c:y val="-3.34346504559270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FDD-7241-9FDE-45BC68B65B24}"/>
                </c:ext>
              </c:extLst>
            </c:dLbl>
            <c:dLbl>
              <c:idx val="2"/>
              <c:layout>
                <c:manualLayout>
                  <c:x val="7.0042320452441097E-3"/>
                  <c:y val="-1.82370820668694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FDD-7241-9FDE-45BC68B65B24}"/>
                </c:ext>
              </c:extLst>
            </c:dLbl>
            <c:dLbl>
              <c:idx val="3"/>
              <c:layout>
                <c:manualLayout>
                  <c:x val="0"/>
                  <c:y val="-2.73556231003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FDD-7241-9FDE-45BC68B65B24}"/>
                </c:ext>
              </c:extLst>
            </c:dLbl>
            <c:dLbl>
              <c:idx val="4"/>
              <c:layout>
                <c:manualLayout>
                  <c:x val="8.1716040527846992E-3"/>
                  <c:y val="-2.735562310030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FDD-7241-9FDE-45BC68B65B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3.61</c:v>
                </c:pt>
                <c:pt idx="1">
                  <c:v>22.19</c:v>
                </c:pt>
                <c:pt idx="2">
                  <c:v>21.2</c:v>
                </c:pt>
                <c:pt idx="3">
                  <c:v>19.2</c:v>
                </c:pt>
                <c:pt idx="4">
                  <c:v>18.2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FDD-7241-9FDE-45BC68B65B24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ентабельность по консолидированной чистой прибыли (%)</c:v>
                </c:pt>
              </c:strCache>
            </c:strRef>
          </c:tx>
          <c:spPr>
            <a:gradFill flip="none" rotWithShape="1">
              <a:gsLst>
                <a:gs pos="100000">
                  <a:schemeClr val="tx2">
                    <a:lumMod val="40000"/>
                    <a:lumOff val="60000"/>
                  </a:schemeClr>
                </a:gs>
                <a:gs pos="60000">
                  <a:schemeClr val="tx2"/>
                </a:gs>
              </a:gsLst>
              <a:lin ang="0" scaled="1"/>
              <a:tileRect/>
            </a:gra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2.43161094224924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FDD-7241-9FDE-45BC68B65B24}"/>
                </c:ext>
              </c:extLst>
            </c:dLbl>
            <c:dLbl>
              <c:idx val="1"/>
              <c:layout>
                <c:manualLayout>
                  <c:x val="1.16737200754059E-3"/>
                  <c:y val="-2.12765957446807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FDD-7241-9FDE-45BC68B65B24}"/>
                </c:ext>
              </c:extLst>
            </c:dLbl>
            <c:dLbl>
              <c:idx val="2"/>
              <c:layout>
                <c:manualLayout>
                  <c:x val="-8.5606291621797505E-17"/>
                  <c:y val="-2.12765957446807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FDD-7241-9FDE-45BC68B65B24}"/>
                </c:ext>
              </c:extLst>
            </c:dLbl>
            <c:dLbl>
              <c:idx val="3"/>
              <c:layout>
                <c:manualLayout>
                  <c:x val="0"/>
                  <c:y val="-2.12765957446807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FDD-7241-9FDE-45BC68B65B24}"/>
                </c:ext>
              </c:extLst>
            </c:dLbl>
            <c:dLbl>
              <c:idx val="4"/>
              <c:layout>
                <c:manualLayout>
                  <c:x val="2.3347440150812602E-3"/>
                  <c:y val="-2.12765957446807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DFDD-7241-9FDE-45BC68B65B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.68</c:v>
                </c:pt>
                <c:pt idx="1">
                  <c:v>8.68</c:v>
                </c:pt>
                <c:pt idx="2">
                  <c:v>6.9</c:v>
                </c:pt>
                <c:pt idx="3">
                  <c:v>7.6</c:v>
                </c:pt>
                <c:pt idx="4">
                  <c:v>7.8599999999999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DFDD-7241-9FDE-45BC68B65B2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9"/>
        <c:axId val="8604064"/>
        <c:axId val="8600144"/>
      </c:barChart>
      <c:catAx>
        <c:axId val="8604064"/>
        <c:scaling>
          <c:orientation val="minMax"/>
        </c:scaling>
        <c:delete val="0"/>
        <c:axPos val="l"/>
        <c:numFmt formatCode="General" sourceLinked="1"/>
        <c:majorTickMark val="in"/>
        <c:minorTickMark val="none"/>
        <c:tickLblPos val="nextTo"/>
        <c:spPr>
          <a:noFill/>
          <a:ln w="12700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600144"/>
        <c:crosses val="autoZero"/>
        <c:auto val="1"/>
        <c:lblAlgn val="ctr"/>
        <c:lblOffset val="100"/>
        <c:noMultiLvlLbl val="0"/>
      </c:catAx>
      <c:valAx>
        <c:axId val="8600144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0"/>
        <c:majorTickMark val="in"/>
        <c:minorTickMark val="none"/>
        <c:tickLblPos val="nextTo"/>
        <c:spPr>
          <a:noFill/>
          <a:ln w="12700"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604064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9.3389760603253703E-3"/>
          <c:y val="0.35273292966038799"/>
          <c:w val="0.247326511284856"/>
          <c:h val="0.589516310461192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>
            <a:extLst>
              <a:ext uri="{FF2B5EF4-FFF2-40B4-BE49-F238E27FC236}">
                <a16:creationId xmlns:a16="http://schemas.microsoft.com/office/drawing/2014/main" id="{09ABFCED-7ED2-BD40-B227-0A6581A947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13BFA6-6BC7-994F-93E9-58A29FE8F3EB}" type="datetimeFigureOut">
              <a:rPr lang="en-US" smtClean="0">
                <a:latin typeface="Arial" panose="020B0604020202020204" pitchFamily="34" charset="0"/>
              </a:rPr>
              <a:t>5/24/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DB82499-36C0-BD42-A1C6-3B13C49D81E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C1C9F4C-95C4-B144-B773-9740C4772DE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765302-2601-C244-B553-A493788760AE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01436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75FCEB7D-3056-6A45-ADC9-920514225754}" type="datetimeFigureOut">
              <a:rPr lang="en-US" smtClean="0"/>
              <a:pPr/>
              <a:t>5/24/22</a:t>
            </a:fld>
            <a:endParaRPr lang="en-US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30E98AB4-E147-774D-8013-A8804854B7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474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696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E98AB4-E147-774D-8013-A8804854B78E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479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01067" y="157655"/>
            <a:ext cx="8290645" cy="6459583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9057" y="1478"/>
            <a:ext cx="6098107" cy="6855043"/>
          </a:xfrm>
          <a:custGeom>
            <a:avLst/>
            <a:gdLst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7858 w 5717858"/>
              <a:gd name="connsiteY2" fmla="*/ 6855043 h 6855043"/>
              <a:gd name="connsiteX3" fmla="*/ 0 w 5717858"/>
              <a:gd name="connsiteY3" fmla="*/ 6855043 h 6855043"/>
              <a:gd name="connsiteX4" fmla="*/ 0 w 5717858"/>
              <a:gd name="connsiteY4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7858 w 5717858"/>
              <a:gd name="connsiteY3" fmla="*/ 6855043 h 6855043"/>
              <a:gd name="connsiteX4" fmla="*/ 0 w 5717858"/>
              <a:gd name="connsiteY4" fmla="*/ 6855043 h 6855043"/>
              <a:gd name="connsiteX5" fmla="*/ 0 w 5717858"/>
              <a:gd name="connsiteY5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7858 w 5717858"/>
              <a:gd name="connsiteY4" fmla="*/ 6855043 h 6855043"/>
              <a:gd name="connsiteX5" fmla="*/ 0 w 5717858"/>
              <a:gd name="connsiteY5" fmla="*/ 6855043 h 6855043"/>
              <a:gd name="connsiteX6" fmla="*/ 0 w 5717858"/>
              <a:gd name="connsiteY6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3067 w 5717858"/>
              <a:gd name="connsiteY4" fmla="*/ 3352181 h 6855043"/>
              <a:gd name="connsiteX5" fmla="*/ 5717858 w 5717858"/>
              <a:gd name="connsiteY5" fmla="*/ 6855043 h 6855043"/>
              <a:gd name="connsiteX6" fmla="*/ 0 w 5717858"/>
              <a:gd name="connsiteY6" fmla="*/ 6855043 h 6855043"/>
              <a:gd name="connsiteX7" fmla="*/ 0 w 5717858"/>
              <a:gd name="connsiteY7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0491 w 5717858"/>
              <a:gd name="connsiteY4" fmla="*/ 3027633 h 6855043"/>
              <a:gd name="connsiteX5" fmla="*/ 5713067 w 5717858"/>
              <a:gd name="connsiteY5" fmla="*/ 3352181 h 6855043"/>
              <a:gd name="connsiteX6" fmla="*/ 5717858 w 5717858"/>
              <a:gd name="connsiteY6" fmla="*/ 6855043 h 6855043"/>
              <a:gd name="connsiteX7" fmla="*/ 0 w 5717858"/>
              <a:gd name="connsiteY7" fmla="*/ 6855043 h 6855043"/>
              <a:gd name="connsiteX8" fmla="*/ 0 w 5717858"/>
              <a:gd name="connsiteY8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0491 w 5717858"/>
              <a:gd name="connsiteY4" fmla="*/ 3027633 h 6855043"/>
              <a:gd name="connsiteX5" fmla="*/ 5713067 w 5717858"/>
              <a:gd name="connsiteY5" fmla="*/ 3352181 h 6855043"/>
              <a:gd name="connsiteX6" fmla="*/ 5717858 w 5717858"/>
              <a:gd name="connsiteY6" fmla="*/ 6855043 h 6855043"/>
              <a:gd name="connsiteX7" fmla="*/ 0 w 5717858"/>
              <a:gd name="connsiteY7" fmla="*/ 6855043 h 6855043"/>
              <a:gd name="connsiteX8" fmla="*/ 0 w 5717858"/>
              <a:gd name="connsiteY8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0491 w 5717858"/>
              <a:gd name="connsiteY4" fmla="*/ 3027633 h 6855043"/>
              <a:gd name="connsiteX5" fmla="*/ 5713067 w 5717858"/>
              <a:gd name="connsiteY5" fmla="*/ 3352181 h 6855043"/>
              <a:gd name="connsiteX6" fmla="*/ 5717858 w 5717858"/>
              <a:gd name="connsiteY6" fmla="*/ 6855043 h 6855043"/>
              <a:gd name="connsiteX7" fmla="*/ 0 w 5717858"/>
              <a:gd name="connsiteY7" fmla="*/ 6855043 h 6855043"/>
              <a:gd name="connsiteX8" fmla="*/ 0 w 5717858"/>
              <a:gd name="connsiteY8" fmla="*/ 0 h 6855043"/>
              <a:gd name="connsiteX0" fmla="*/ 0 w 6017009"/>
              <a:gd name="connsiteY0" fmla="*/ 0 h 6855043"/>
              <a:gd name="connsiteX1" fmla="*/ 5717858 w 6017009"/>
              <a:gd name="connsiteY1" fmla="*/ 0 h 6855043"/>
              <a:gd name="connsiteX2" fmla="*/ 5714999 w 6017009"/>
              <a:gd name="connsiteY2" fmla="*/ 1391289 h 6855043"/>
              <a:gd name="connsiteX3" fmla="*/ 6017009 w 6017009"/>
              <a:gd name="connsiteY3" fmla="*/ 1999900 h 6855043"/>
              <a:gd name="connsiteX4" fmla="*/ 5710491 w 6017009"/>
              <a:gd name="connsiteY4" fmla="*/ 3027633 h 6855043"/>
              <a:gd name="connsiteX5" fmla="*/ 5713067 w 6017009"/>
              <a:gd name="connsiteY5" fmla="*/ 3352181 h 6855043"/>
              <a:gd name="connsiteX6" fmla="*/ 5717858 w 6017009"/>
              <a:gd name="connsiteY6" fmla="*/ 6855043 h 6855043"/>
              <a:gd name="connsiteX7" fmla="*/ 0 w 6017009"/>
              <a:gd name="connsiteY7" fmla="*/ 6855043 h 6855043"/>
              <a:gd name="connsiteX8" fmla="*/ 0 w 6017009"/>
              <a:gd name="connsiteY8" fmla="*/ 0 h 6855043"/>
              <a:gd name="connsiteX0" fmla="*/ 0 w 6017009"/>
              <a:gd name="connsiteY0" fmla="*/ 0 h 6855043"/>
              <a:gd name="connsiteX1" fmla="*/ 5717858 w 6017009"/>
              <a:gd name="connsiteY1" fmla="*/ 0 h 6855043"/>
              <a:gd name="connsiteX2" fmla="*/ 5714999 w 6017009"/>
              <a:gd name="connsiteY2" fmla="*/ 1391289 h 6855043"/>
              <a:gd name="connsiteX3" fmla="*/ 6017009 w 6017009"/>
              <a:gd name="connsiteY3" fmla="*/ 1999900 h 6855043"/>
              <a:gd name="connsiteX4" fmla="*/ 5710491 w 6017009"/>
              <a:gd name="connsiteY4" fmla="*/ 3027633 h 6855043"/>
              <a:gd name="connsiteX5" fmla="*/ 5713067 w 6017009"/>
              <a:gd name="connsiteY5" fmla="*/ 3352181 h 6855043"/>
              <a:gd name="connsiteX6" fmla="*/ 5717858 w 6017009"/>
              <a:gd name="connsiteY6" fmla="*/ 6855043 h 6855043"/>
              <a:gd name="connsiteX7" fmla="*/ 0 w 6017009"/>
              <a:gd name="connsiteY7" fmla="*/ 6855043 h 6855043"/>
              <a:gd name="connsiteX8" fmla="*/ 0 w 6017009"/>
              <a:gd name="connsiteY8" fmla="*/ 0 h 6855043"/>
              <a:gd name="connsiteX0" fmla="*/ 0 w 6053070"/>
              <a:gd name="connsiteY0" fmla="*/ 0 h 6855043"/>
              <a:gd name="connsiteX1" fmla="*/ 5717858 w 6053070"/>
              <a:gd name="connsiteY1" fmla="*/ 0 h 6855043"/>
              <a:gd name="connsiteX2" fmla="*/ 5714999 w 6053070"/>
              <a:gd name="connsiteY2" fmla="*/ 1391289 h 6855043"/>
              <a:gd name="connsiteX3" fmla="*/ 6053070 w 6053070"/>
              <a:gd name="connsiteY3" fmla="*/ 1971567 h 6855043"/>
              <a:gd name="connsiteX4" fmla="*/ 5710491 w 6053070"/>
              <a:gd name="connsiteY4" fmla="*/ 3027633 h 6855043"/>
              <a:gd name="connsiteX5" fmla="*/ 5713067 w 6053070"/>
              <a:gd name="connsiteY5" fmla="*/ 3352181 h 6855043"/>
              <a:gd name="connsiteX6" fmla="*/ 5717858 w 6053070"/>
              <a:gd name="connsiteY6" fmla="*/ 6855043 h 6855043"/>
              <a:gd name="connsiteX7" fmla="*/ 0 w 6053070"/>
              <a:gd name="connsiteY7" fmla="*/ 6855043 h 6855043"/>
              <a:gd name="connsiteX8" fmla="*/ 0 w 6053070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5710491 w 6107161"/>
              <a:gd name="connsiteY4" fmla="*/ 3027633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27029"/>
              <a:gd name="connsiteY0" fmla="*/ 0 h 6855043"/>
              <a:gd name="connsiteX1" fmla="*/ 5717858 w 6127029"/>
              <a:gd name="connsiteY1" fmla="*/ 0 h 6855043"/>
              <a:gd name="connsiteX2" fmla="*/ 5714999 w 6127029"/>
              <a:gd name="connsiteY2" fmla="*/ 1391289 h 6855043"/>
              <a:gd name="connsiteX3" fmla="*/ 6107161 w 6127029"/>
              <a:gd name="connsiteY3" fmla="*/ 1773233 h 6855043"/>
              <a:gd name="connsiteX4" fmla="*/ 6094282 w 6127029"/>
              <a:gd name="connsiteY4" fmla="*/ 2978693 h 6855043"/>
              <a:gd name="connsiteX5" fmla="*/ 5713067 w 6127029"/>
              <a:gd name="connsiteY5" fmla="*/ 3352181 h 6855043"/>
              <a:gd name="connsiteX6" fmla="*/ 5717858 w 6127029"/>
              <a:gd name="connsiteY6" fmla="*/ 6855043 h 6855043"/>
              <a:gd name="connsiteX7" fmla="*/ 0 w 6127029"/>
              <a:gd name="connsiteY7" fmla="*/ 6855043 h 6855043"/>
              <a:gd name="connsiteX8" fmla="*/ 0 w 6127029"/>
              <a:gd name="connsiteY8" fmla="*/ 0 h 6855043"/>
              <a:gd name="connsiteX0" fmla="*/ 0 w 6127029"/>
              <a:gd name="connsiteY0" fmla="*/ 0 h 6855043"/>
              <a:gd name="connsiteX1" fmla="*/ 5717858 w 6127029"/>
              <a:gd name="connsiteY1" fmla="*/ 0 h 6855043"/>
              <a:gd name="connsiteX2" fmla="*/ 5714999 w 6127029"/>
              <a:gd name="connsiteY2" fmla="*/ 1391289 h 6855043"/>
              <a:gd name="connsiteX3" fmla="*/ 6107161 w 6127029"/>
              <a:gd name="connsiteY3" fmla="*/ 1773233 h 6855043"/>
              <a:gd name="connsiteX4" fmla="*/ 6094282 w 6127029"/>
              <a:gd name="connsiteY4" fmla="*/ 2978693 h 6855043"/>
              <a:gd name="connsiteX5" fmla="*/ 5713067 w 6127029"/>
              <a:gd name="connsiteY5" fmla="*/ 3352181 h 6855043"/>
              <a:gd name="connsiteX6" fmla="*/ 5717858 w 6127029"/>
              <a:gd name="connsiteY6" fmla="*/ 6855043 h 6855043"/>
              <a:gd name="connsiteX7" fmla="*/ 0 w 6127029"/>
              <a:gd name="connsiteY7" fmla="*/ 6855043 h 6855043"/>
              <a:gd name="connsiteX8" fmla="*/ 0 w 6127029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5906250 w 6107161"/>
              <a:gd name="connsiteY4" fmla="*/ 2914299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12069"/>
              <a:gd name="connsiteY0" fmla="*/ 0 h 6855043"/>
              <a:gd name="connsiteX1" fmla="*/ 5717858 w 6112069"/>
              <a:gd name="connsiteY1" fmla="*/ 0 h 6855043"/>
              <a:gd name="connsiteX2" fmla="*/ 5714999 w 6112069"/>
              <a:gd name="connsiteY2" fmla="*/ 1391289 h 6855043"/>
              <a:gd name="connsiteX3" fmla="*/ 6107161 w 6112069"/>
              <a:gd name="connsiteY3" fmla="*/ 1773233 h 6855043"/>
              <a:gd name="connsiteX4" fmla="*/ 5906250 w 6112069"/>
              <a:gd name="connsiteY4" fmla="*/ 2914299 h 6855043"/>
              <a:gd name="connsiteX5" fmla="*/ 5713067 w 6112069"/>
              <a:gd name="connsiteY5" fmla="*/ 3352181 h 6855043"/>
              <a:gd name="connsiteX6" fmla="*/ 5717858 w 6112069"/>
              <a:gd name="connsiteY6" fmla="*/ 6855043 h 6855043"/>
              <a:gd name="connsiteX7" fmla="*/ 0 w 6112069"/>
              <a:gd name="connsiteY7" fmla="*/ 6855043 h 6855043"/>
              <a:gd name="connsiteX8" fmla="*/ 0 w 6112069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5906250 w 6107161"/>
              <a:gd name="connsiteY4" fmla="*/ 2914299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6096858 w 6107161"/>
              <a:gd name="connsiteY4" fmla="*/ 2970966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6096858 w 6107161"/>
              <a:gd name="connsiteY4" fmla="*/ 2970966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6096858 w 6107161"/>
              <a:gd name="connsiteY4" fmla="*/ 2970966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10968"/>
              <a:gd name="connsiteY0" fmla="*/ 0 h 6855043"/>
              <a:gd name="connsiteX1" fmla="*/ 5717858 w 6110968"/>
              <a:gd name="connsiteY1" fmla="*/ 0 h 6855043"/>
              <a:gd name="connsiteX2" fmla="*/ 5714999 w 6110968"/>
              <a:gd name="connsiteY2" fmla="*/ 1391289 h 6855043"/>
              <a:gd name="connsiteX3" fmla="*/ 6034733 w 6110968"/>
              <a:gd name="connsiteY3" fmla="*/ 1812464 h 6855043"/>
              <a:gd name="connsiteX4" fmla="*/ 6096858 w 6110968"/>
              <a:gd name="connsiteY4" fmla="*/ 2970966 h 6855043"/>
              <a:gd name="connsiteX5" fmla="*/ 5713067 w 6110968"/>
              <a:gd name="connsiteY5" fmla="*/ 3352181 h 6855043"/>
              <a:gd name="connsiteX6" fmla="*/ 5717858 w 6110968"/>
              <a:gd name="connsiteY6" fmla="*/ 6855043 h 6855043"/>
              <a:gd name="connsiteX7" fmla="*/ 0 w 6110968"/>
              <a:gd name="connsiteY7" fmla="*/ 6855043 h 6855043"/>
              <a:gd name="connsiteX8" fmla="*/ 0 w 6110968"/>
              <a:gd name="connsiteY8" fmla="*/ 0 h 6855043"/>
              <a:gd name="connsiteX0" fmla="*/ 0 w 6125537"/>
              <a:gd name="connsiteY0" fmla="*/ 0 h 6855043"/>
              <a:gd name="connsiteX1" fmla="*/ 5717858 w 6125537"/>
              <a:gd name="connsiteY1" fmla="*/ 0 h 6855043"/>
              <a:gd name="connsiteX2" fmla="*/ 5714999 w 6125537"/>
              <a:gd name="connsiteY2" fmla="*/ 1391289 h 6855043"/>
              <a:gd name="connsiteX3" fmla="*/ 6098107 w 6125537"/>
              <a:gd name="connsiteY3" fmla="*/ 1770215 h 6855043"/>
              <a:gd name="connsiteX4" fmla="*/ 6096858 w 6125537"/>
              <a:gd name="connsiteY4" fmla="*/ 2970966 h 6855043"/>
              <a:gd name="connsiteX5" fmla="*/ 5713067 w 6125537"/>
              <a:gd name="connsiteY5" fmla="*/ 3352181 h 6855043"/>
              <a:gd name="connsiteX6" fmla="*/ 5717858 w 6125537"/>
              <a:gd name="connsiteY6" fmla="*/ 6855043 h 6855043"/>
              <a:gd name="connsiteX7" fmla="*/ 0 w 6125537"/>
              <a:gd name="connsiteY7" fmla="*/ 6855043 h 6855043"/>
              <a:gd name="connsiteX8" fmla="*/ 0 w 612553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5936913 w 6098107"/>
              <a:gd name="connsiteY4" fmla="*/ 2983038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119069"/>
              <a:gd name="connsiteY0" fmla="*/ 0 h 6855043"/>
              <a:gd name="connsiteX1" fmla="*/ 5717858 w 6119069"/>
              <a:gd name="connsiteY1" fmla="*/ 0 h 6855043"/>
              <a:gd name="connsiteX2" fmla="*/ 5714999 w 6119069"/>
              <a:gd name="connsiteY2" fmla="*/ 1391289 h 6855043"/>
              <a:gd name="connsiteX3" fmla="*/ 6098107 w 6119069"/>
              <a:gd name="connsiteY3" fmla="*/ 1770215 h 6855043"/>
              <a:gd name="connsiteX4" fmla="*/ 6087804 w 6119069"/>
              <a:gd name="connsiteY4" fmla="*/ 2964931 h 6855043"/>
              <a:gd name="connsiteX5" fmla="*/ 5713067 w 6119069"/>
              <a:gd name="connsiteY5" fmla="*/ 3352181 h 6855043"/>
              <a:gd name="connsiteX6" fmla="*/ 5717858 w 6119069"/>
              <a:gd name="connsiteY6" fmla="*/ 6855043 h 6855043"/>
              <a:gd name="connsiteX7" fmla="*/ 0 w 6119069"/>
              <a:gd name="connsiteY7" fmla="*/ 6855043 h 6855043"/>
              <a:gd name="connsiteX8" fmla="*/ 0 w 6119069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73985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8107" h="6855043">
                <a:moveTo>
                  <a:pt x="0" y="0"/>
                </a:moveTo>
                <a:lnTo>
                  <a:pt x="5717858" y="0"/>
                </a:lnTo>
                <a:lnTo>
                  <a:pt x="5714999" y="1391289"/>
                </a:lnTo>
                <a:lnTo>
                  <a:pt x="6098107" y="1770215"/>
                </a:lnTo>
                <a:cubicBezTo>
                  <a:pt x="6097356" y="2042939"/>
                  <a:pt x="6094320" y="2706021"/>
                  <a:pt x="6087804" y="2973985"/>
                </a:cubicBezTo>
                <a:cubicBezTo>
                  <a:pt x="6087512" y="2985992"/>
                  <a:pt x="5904491" y="3165556"/>
                  <a:pt x="5713067" y="3352181"/>
                </a:cubicBezTo>
                <a:cubicBezTo>
                  <a:pt x="5711481" y="3806821"/>
                  <a:pt x="5716261" y="5687422"/>
                  <a:pt x="5717858" y="6855043"/>
                </a:cubicBezTo>
                <a:lnTo>
                  <a:pt x="0" y="68550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939469" y="0"/>
            <a:ext cx="7252531" cy="4785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4939469" y="6389909"/>
            <a:ext cx="7252531" cy="4785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4" name="Прямая соединительная линия 23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18444" y="5834587"/>
            <a:ext cx="1995565" cy="552266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51EE70B-100E-F64B-AE12-07985FCF8C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8444" y="1680310"/>
            <a:ext cx="5046015" cy="11692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00"/>
              </a:lnSpc>
              <a:buNone/>
              <a:defRPr sz="40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ПРИМЕР ЗАГОЛОВКА НЕ БОЛЕЕ ДВУХ СТРОК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D9F1DBE-1BE4-6241-8CBA-E0F58F58D3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8444" y="3635593"/>
            <a:ext cx="4064707" cy="1169284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000"/>
              </a:lnSpc>
              <a:buNone/>
              <a:defRPr sz="3200" b="1" i="0">
                <a:latin typeface="Arial Narrow" panose="020B0604020202020204" pitchFamily="34" charset="0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ru-RU" dirty="0"/>
              <a:t>Пример подзаголовка не более трех строк</a:t>
            </a:r>
          </a:p>
        </p:txBody>
      </p:sp>
    </p:spTree>
    <p:extLst>
      <p:ext uri="{BB962C8B-B14F-4D97-AF65-F5344CB8AC3E}">
        <p14:creationId xmlns:p14="http://schemas.microsoft.com/office/powerpoint/2010/main" val="3159259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FBAE40"/>
          </p15:clr>
        </p15:guide>
        <p15:guide id="2" pos="39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526287"/>
            <a:ext cx="10934700" cy="772482"/>
          </a:xfrm>
          <a:prstGeom prst="rect">
            <a:avLst/>
          </a:prstGeom>
        </p:spPr>
      </p:pic>
      <p:sp>
        <p:nvSpPr>
          <p:cNvPr id="16" name="Текст 15"/>
          <p:cNvSpPr>
            <a:spLocks noGrp="1"/>
          </p:cNvSpPr>
          <p:nvPr>
            <p:ph type="body" sz="quarter" idx="12" hasCustomPrompt="1"/>
          </p:nvPr>
        </p:nvSpPr>
        <p:spPr>
          <a:xfrm>
            <a:off x="524984" y="489472"/>
            <a:ext cx="4468813" cy="3360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spc="-150" baseline="0">
                <a:solidFill>
                  <a:srgbClr val="80BC00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dirty="0"/>
              <a:t>Содержание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3" hasCustomPrompt="1"/>
          </p:nvPr>
        </p:nvSpPr>
        <p:spPr>
          <a:xfrm>
            <a:off x="524985" y="1725574"/>
            <a:ext cx="997110" cy="569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spc="-150" baseline="0">
                <a:solidFill>
                  <a:srgbClr val="80BC00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ru-RU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1524272" y="1861175"/>
            <a:ext cx="9216245" cy="508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420"/>
              </a:lnSpc>
              <a:spcBef>
                <a:spcPts val="0"/>
              </a:spcBef>
              <a:buNone/>
              <a:defRPr sz="3600" b="0" i="0" spc="-150" baseline="0">
                <a:solidFill>
                  <a:srgbClr val="80BC00"/>
                </a:solidFill>
                <a:latin typeface="Arial Narrow" panose="020B0604020202020204" pitchFamily="34" charset="0"/>
              </a:defRPr>
            </a:lvl1pPr>
          </a:lstStyle>
          <a:p>
            <a:pPr lvl="0"/>
            <a:r>
              <a:rPr lang="ru-RU" dirty="0"/>
              <a:t>ПРИМЕР ЗАГОЛОВКА</a:t>
            </a:r>
          </a:p>
        </p:txBody>
      </p:sp>
      <p:sp>
        <p:nvSpPr>
          <p:cNvPr id="23" name="Текст 22"/>
          <p:cNvSpPr>
            <a:spLocks noGrp="1"/>
          </p:cNvSpPr>
          <p:nvPr>
            <p:ph type="body" sz="quarter" idx="15" hasCustomPrompt="1"/>
          </p:nvPr>
        </p:nvSpPr>
        <p:spPr>
          <a:xfrm>
            <a:off x="1522095" y="2371408"/>
            <a:ext cx="7987665" cy="16628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/>
            </a:lvl1pPr>
          </a:lstStyle>
          <a:p>
            <a:pPr lvl="0"/>
            <a:r>
              <a:rPr lang="ru-RU" dirty="0"/>
              <a:t>Пример </a:t>
            </a:r>
            <a:r>
              <a:rPr lang="ru-RU"/>
              <a:t>подзаголовка слайда презентации</a:t>
            </a:r>
            <a:endParaRPr lang="ru-RU" dirty="0"/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16" hasCustomPrompt="1"/>
          </p:nvPr>
        </p:nvSpPr>
        <p:spPr>
          <a:xfrm>
            <a:off x="9772650" y="2359026"/>
            <a:ext cx="968375" cy="16752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rgbClr val="80BC00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pic>
        <p:nvPicPr>
          <p:cNvPr id="11" name="Рисунок 27">
            <a:extLst>
              <a:ext uri="{FF2B5EF4-FFF2-40B4-BE49-F238E27FC236}">
                <a16:creationId xmlns:a16="http://schemas.microsoft.com/office/drawing/2014/main" id="{5A3CE1A8-27A2-6B48-BCCA-107231D3BD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70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>
          <p15:clr>
            <a:srgbClr val="FBAE40"/>
          </p15:clr>
        </p15:guide>
        <p15:guide id="2" pos="39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526287"/>
            <a:ext cx="10934700" cy="77248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6215449" y="1618065"/>
            <a:ext cx="6153665" cy="4794573"/>
          </a:xfrm>
          <a:prstGeom prst="rect">
            <a:avLst/>
          </a:prstGeom>
        </p:spPr>
      </p:pic>
      <p:grpSp>
        <p:nvGrpSpPr>
          <p:cNvPr id="7" name="Группа 6"/>
          <p:cNvGrpSpPr/>
          <p:nvPr userDrawn="1"/>
        </p:nvGrpSpPr>
        <p:grpSpPr>
          <a:xfrm>
            <a:off x="4406537" y="1383884"/>
            <a:ext cx="7785463" cy="5438259"/>
            <a:chOff x="9057" y="-80816"/>
            <a:chExt cx="11068651" cy="7354018"/>
          </a:xfrm>
          <a:solidFill>
            <a:schemeClr val="bg1"/>
          </a:solidFill>
        </p:grpSpPr>
        <p:sp>
          <p:nvSpPr>
            <p:cNvPr id="8" name="Прямоугольник 7"/>
            <p:cNvSpPr/>
            <p:nvPr/>
          </p:nvSpPr>
          <p:spPr>
            <a:xfrm>
              <a:off x="9057" y="1478"/>
              <a:ext cx="6098107" cy="6855043"/>
            </a:xfrm>
            <a:custGeom>
              <a:avLst/>
              <a:gdLst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7858 w 5717858"/>
                <a:gd name="connsiteY2" fmla="*/ 6855043 h 6855043"/>
                <a:gd name="connsiteX3" fmla="*/ 0 w 5717858"/>
                <a:gd name="connsiteY3" fmla="*/ 6855043 h 6855043"/>
                <a:gd name="connsiteX4" fmla="*/ 0 w 5717858"/>
                <a:gd name="connsiteY4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7858 w 5717858"/>
                <a:gd name="connsiteY3" fmla="*/ 6855043 h 6855043"/>
                <a:gd name="connsiteX4" fmla="*/ 0 w 5717858"/>
                <a:gd name="connsiteY4" fmla="*/ 6855043 h 6855043"/>
                <a:gd name="connsiteX5" fmla="*/ 0 w 5717858"/>
                <a:gd name="connsiteY5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7858 w 5717858"/>
                <a:gd name="connsiteY4" fmla="*/ 6855043 h 6855043"/>
                <a:gd name="connsiteX5" fmla="*/ 0 w 5717858"/>
                <a:gd name="connsiteY5" fmla="*/ 6855043 h 6855043"/>
                <a:gd name="connsiteX6" fmla="*/ 0 w 5717858"/>
                <a:gd name="connsiteY6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3067 w 5717858"/>
                <a:gd name="connsiteY4" fmla="*/ 3352181 h 6855043"/>
                <a:gd name="connsiteX5" fmla="*/ 5717858 w 5717858"/>
                <a:gd name="connsiteY5" fmla="*/ 6855043 h 6855043"/>
                <a:gd name="connsiteX6" fmla="*/ 0 w 5717858"/>
                <a:gd name="connsiteY6" fmla="*/ 6855043 h 6855043"/>
                <a:gd name="connsiteX7" fmla="*/ 0 w 5717858"/>
                <a:gd name="connsiteY7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53070"/>
                <a:gd name="connsiteY0" fmla="*/ 0 h 6855043"/>
                <a:gd name="connsiteX1" fmla="*/ 5717858 w 6053070"/>
                <a:gd name="connsiteY1" fmla="*/ 0 h 6855043"/>
                <a:gd name="connsiteX2" fmla="*/ 5714999 w 6053070"/>
                <a:gd name="connsiteY2" fmla="*/ 1391289 h 6855043"/>
                <a:gd name="connsiteX3" fmla="*/ 6053070 w 6053070"/>
                <a:gd name="connsiteY3" fmla="*/ 1971567 h 6855043"/>
                <a:gd name="connsiteX4" fmla="*/ 5710491 w 6053070"/>
                <a:gd name="connsiteY4" fmla="*/ 3027633 h 6855043"/>
                <a:gd name="connsiteX5" fmla="*/ 5713067 w 6053070"/>
                <a:gd name="connsiteY5" fmla="*/ 3352181 h 6855043"/>
                <a:gd name="connsiteX6" fmla="*/ 5717858 w 6053070"/>
                <a:gd name="connsiteY6" fmla="*/ 6855043 h 6855043"/>
                <a:gd name="connsiteX7" fmla="*/ 0 w 6053070"/>
                <a:gd name="connsiteY7" fmla="*/ 6855043 h 6855043"/>
                <a:gd name="connsiteX8" fmla="*/ 0 w 6053070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710491 w 6107161"/>
                <a:gd name="connsiteY4" fmla="*/ 3027633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2069"/>
                <a:gd name="connsiteY0" fmla="*/ 0 h 6855043"/>
                <a:gd name="connsiteX1" fmla="*/ 5717858 w 6112069"/>
                <a:gd name="connsiteY1" fmla="*/ 0 h 6855043"/>
                <a:gd name="connsiteX2" fmla="*/ 5714999 w 6112069"/>
                <a:gd name="connsiteY2" fmla="*/ 1391289 h 6855043"/>
                <a:gd name="connsiteX3" fmla="*/ 6107161 w 6112069"/>
                <a:gd name="connsiteY3" fmla="*/ 1773233 h 6855043"/>
                <a:gd name="connsiteX4" fmla="*/ 5906250 w 6112069"/>
                <a:gd name="connsiteY4" fmla="*/ 2914299 h 6855043"/>
                <a:gd name="connsiteX5" fmla="*/ 5713067 w 6112069"/>
                <a:gd name="connsiteY5" fmla="*/ 3352181 h 6855043"/>
                <a:gd name="connsiteX6" fmla="*/ 5717858 w 6112069"/>
                <a:gd name="connsiteY6" fmla="*/ 6855043 h 6855043"/>
                <a:gd name="connsiteX7" fmla="*/ 0 w 6112069"/>
                <a:gd name="connsiteY7" fmla="*/ 6855043 h 6855043"/>
                <a:gd name="connsiteX8" fmla="*/ 0 w 611206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0968"/>
                <a:gd name="connsiteY0" fmla="*/ 0 h 6855043"/>
                <a:gd name="connsiteX1" fmla="*/ 5717858 w 6110968"/>
                <a:gd name="connsiteY1" fmla="*/ 0 h 6855043"/>
                <a:gd name="connsiteX2" fmla="*/ 5714999 w 6110968"/>
                <a:gd name="connsiteY2" fmla="*/ 1391289 h 6855043"/>
                <a:gd name="connsiteX3" fmla="*/ 6034733 w 6110968"/>
                <a:gd name="connsiteY3" fmla="*/ 1812464 h 6855043"/>
                <a:gd name="connsiteX4" fmla="*/ 6096858 w 6110968"/>
                <a:gd name="connsiteY4" fmla="*/ 2970966 h 6855043"/>
                <a:gd name="connsiteX5" fmla="*/ 5713067 w 6110968"/>
                <a:gd name="connsiteY5" fmla="*/ 3352181 h 6855043"/>
                <a:gd name="connsiteX6" fmla="*/ 5717858 w 6110968"/>
                <a:gd name="connsiteY6" fmla="*/ 6855043 h 6855043"/>
                <a:gd name="connsiteX7" fmla="*/ 0 w 6110968"/>
                <a:gd name="connsiteY7" fmla="*/ 6855043 h 6855043"/>
                <a:gd name="connsiteX8" fmla="*/ 0 w 6110968"/>
                <a:gd name="connsiteY8" fmla="*/ 0 h 6855043"/>
                <a:gd name="connsiteX0" fmla="*/ 0 w 6125537"/>
                <a:gd name="connsiteY0" fmla="*/ 0 h 6855043"/>
                <a:gd name="connsiteX1" fmla="*/ 5717858 w 6125537"/>
                <a:gd name="connsiteY1" fmla="*/ 0 h 6855043"/>
                <a:gd name="connsiteX2" fmla="*/ 5714999 w 6125537"/>
                <a:gd name="connsiteY2" fmla="*/ 1391289 h 6855043"/>
                <a:gd name="connsiteX3" fmla="*/ 6098107 w 6125537"/>
                <a:gd name="connsiteY3" fmla="*/ 1770215 h 6855043"/>
                <a:gd name="connsiteX4" fmla="*/ 6096858 w 6125537"/>
                <a:gd name="connsiteY4" fmla="*/ 2970966 h 6855043"/>
                <a:gd name="connsiteX5" fmla="*/ 5713067 w 6125537"/>
                <a:gd name="connsiteY5" fmla="*/ 3352181 h 6855043"/>
                <a:gd name="connsiteX6" fmla="*/ 5717858 w 6125537"/>
                <a:gd name="connsiteY6" fmla="*/ 6855043 h 6855043"/>
                <a:gd name="connsiteX7" fmla="*/ 0 w 6125537"/>
                <a:gd name="connsiteY7" fmla="*/ 6855043 h 6855043"/>
                <a:gd name="connsiteX8" fmla="*/ 0 w 612553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5936913 w 6098107"/>
                <a:gd name="connsiteY4" fmla="*/ 2983038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119069"/>
                <a:gd name="connsiteY0" fmla="*/ 0 h 6855043"/>
                <a:gd name="connsiteX1" fmla="*/ 5717858 w 6119069"/>
                <a:gd name="connsiteY1" fmla="*/ 0 h 6855043"/>
                <a:gd name="connsiteX2" fmla="*/ 5714999 w 6119069"/>
                <a:gd name="connsiteY2" fmla="*/ 1391289 h 6855043"/>
                <a:gd name="connsiteX3" fmla="*/ 6098107 w 6119069"/>
                <a:gd name="connsiteY3" fmla="*/ 1770215 h 6855043"/>
                <a:gd name="connsiteX4" fmla="*/ 6087804 w 6119069"/>
                <a:gd name="connsiteY4" fmla="*/ 2964931 h 6855043"/>
                <a:gd name="connsiteX5" fmla="*/ 5713067 w 6119069"/>
                <a:gd name="connsiteY5" fmla="*/ 3352181 h 6855043"/>
                <a:gd name="connsiteX6" fmla="*/ 5717858 w 6119069"/>
                <a:gd name="connsiteY6" fmla="*/ 6855043 h 6855043"/>
                <a:gd name="connsiteX7" fmla="*/ 0 w 6119069"/>
                <a:gd name="connsiteY7" fmla="*/ 6855043 h 6855043"/>
                <a:gd name="connsiteX8" fmla="*/ 0 w 6119069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73985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98107" h="6855043">
                  <a:moveTo>
                    <a:pt x="0" y="0"/>
                  </a:moveTo>
                  <a:lnTo>
                    <a:pt x="5717858" y="0"/>
                  </a:lnTo>
                  <a:lnTo>
                    <a:pt x="5714999" y="1391289"/>
                  </a:lnTo>
                  <a:lnTo>
                    <a:pt x="6098107" y="1770215"/>
                  </a:lnTo>
                  <a:cubicBezTo>
                    <a:pt x="6097356" y="2042939"/>
                    <a:pt x="6094320" y="2706021"/>
                    <a:pt x="6087804" y="2973985"/>
                  </a:cubicBezTo>
                  <a:cubicBezTo>
                    <a:pt x="6087512" y="2985992"/>
                    <a:pt x="5904491" y="3165556"/>
                    <a:pt x="5713067" y="3352181"/>
                  </a:cubicBezTo>
                  <a:cubicBezTo>
                    <a:pt x="5711481" y="3806821"/>
                    <a:pt x="5716261" y="5687422"/>
                    <a:pt x="5717858" y="6855043"/>
                  </a:cubicBezTo>
                  <a:lnTo>
                    <a:pt x="0" y="68550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Arial" panose="020B0604020202020204" pitchFamily="34" charset="0"/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4939469" y="-80816"/>
              <a:ext cx="6138239" cy="478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491919" y="6690272"/>
              <a:ext cx="10585789" cy="5829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9" name="Текст 15"/>
          <p:cNvSpPr>
            <a:spLocks noGrp="1"/>
          </p:cNvSpPr>
          <p:nvPr>
            <p:ph type="body" sz="quarter" idx="12" hasCustomPrompt="1"/>
          </p:nvPr>
        </p:nvSpPr>
        <p:spPr>
          <a:xfrm>
            <a:off x="524984" y="489472"/>
            <a:ext cx="4468813" cy="3360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spc="-150" baseline="0">
                <a:solidFill>
                  <a:srgbClr val="80BC00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dirty="0"/>
              <a:t>Содержание</a:t>
            </a:r>
          </a:p>
        </p:txBody>
      </p:sp>
      <p:sp>
        <p:nvSpPr>
          <p:cNvPr id="20" name="Текст 18"/>
          <p:cNvSpPr>
            <a:spLocks noGrp="1"/>
          </p:cNvSpPr>
          <p:nvPr>
            <p:ph type="body" sz="quarter" idx="13" hasCustomPrompt="1"/>
          </p:nvPr>
        </p:nvSpPr>
        <p:spPr>
          <a:xfrm>
            <a:off x="524985" y="1725574"/>
            <a:ext cx="997110" cy="569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spc="-150" baseline="0">
                <a:solidFill>
                  <a:srgbClr val="80BC00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ru-RU" dirty="0"/>
          </a:p>
        </p:txBody>
      </p:sp>
      <p:sp>
        <p:nvSpPr>
          <p:cNvPr id="22" name="Текст 22"/>
          <p:cNvSpPr>
            <a:spLocks noGrp="1"/>
          </p:cNvSpPr>
          <p:nvPr>
            <p:ph type="body" sz="quarter" idx="15" hasCustomPrompt="1"/>
          </p:nvPr>
        </p:nvSpPr>
        <p:spPr>
          <a:xfrm>
            <a:off x="1522095" y="2371408"/>
            <a:ext cx="5100129" cy="16628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/>
            </a:lvl1pPr>
          </a:lstStyle>
          <a:p>
            <a:pPr lvl="0"/>
            <a:r>
              <a:rPr lang="ru-RU" dirty="0"/>
              <a:t>Пример </a:t>
            </a:r>
            <a:r>
              <a:rPr lang="ru-RU"/>
              <a:t>подзаголовка слайда презентации</a:t>
            </a:r>
            <a:endParaRPr lang="ru-RU" dirty="0"/>
          </a:p>
        </p:txBody>
      </p:sp>
      <p:sp>
        <p:nvSpPr>
          <p:cNvPr id="23" name="Текст 24"/>
          <p:cNvSpPr>
            <a:spLocks noGrp="1"/>
          </p:cNvSpPr>
          <p:nvPr>
            <p:ph type="body" sz="quarter" idx="16" hasCustomPrompt="1"/>
          </p:nvPr>
        </p:nvSpPr>
        <p:spPr>
          <a:xfrm>
            <a:off x="7008176" y="2359026"/>
            <a:ext cx="968375" cy="16752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rgbClr val="80BC00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pic>
        <p:nvPicPr>
          <p:cNvPr id="18" name="Рисунок 27">
            <a:extLst>
              <a:ext uri="{FF2B5EF4-FFF2-40B4-BE49-F238E27FC236}">
                <a16:creationId xmlns:a16="http://schemas.microsoft.com/office/drawing/2014/main" id="{D1E97F30-C427-F041-8E5C-77CC630578E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A83BB1-3DF2-604F-8530-4AE3DFD14A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2095" y="1800726"/>
            <a:ext cx="6454456" cy="44577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420"/>
              </a:lnSpc>
              <a:buNone/>
              <a:defRPr sz="36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ПРИМЕР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82614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47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insert you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526287"/>
            <a:ext cx="10934700" cy="772482"/>
          </a:xfrm>
          <a:prstGeom prst="rect">
            <a:avLst/>
          </a:prstGeom>
        </p:spPr>
      </p:pic>
      <p:sp>
        <p:nvSpPr>
          <p:cNvPr id="18" name="Рисунок 12"/>
          <p:cNvSpPr>
            <a:spLocks noGrp="1"/>
          </p:cNvSpPr>
          <p:nvPr>
            <p:ph type="pic" sz="quarter" idx="19" hasCustomPrompt="1"/>
          </p:nvPr>
        </p:nvSpPr>
        <p:spPr>
          <a:xfrm>
            <a:off x="8426398" y="1731132"/>
            <a:ext cx="3774837" cy="4655986"/>
          </a:xfrm>
          <a:custGeom>
            <a:avLst/>
            <a:gdLst>
              <a:gd name="connsiteX0" fmla="*/ 0 w 6464300"/>
              <a:gd name="connsiteY0" fmla="*/ 0 h 5911345"/>
              <a:gd name="connsiteX1" fmla="*/ 6464300 w 6464300"/>
              <a:gd name="connsiteY1" fmla="*/ 0 h 5911345"/>
              <a:gd name="connsiteX2" fmla="*/ 6464300 w 6464300"/>
              <a:gd name="connsiteY2" fmla="*/ 5911345 h 5911345"/>
              <a:gd name="connsiteX3" fmla="*/ 0 w 6464300"/>
              <a:gd name="connsiteY3" fmla="*/ 5911345 h 5911345"/>
              <a:gd name="connsiteX4" fmla="*/ 0 w 6464300"/>
              <a:gd name="connsiteY4" fmla="*/ 0 h 5911345"/>
              <a:gd name="connsiteX0" fmla="*/ 0 w 6464300"/>
              <a:gd name="connsiteY0" fmla="*/ 16448 h 5927793"/>
              <a:gd name="connsiteX1" fmla="*/ 14339 w 6464300"/>
              <a:gd name="connsiteY1" fmla="*/ 0 h 5927793"/>
              <a:gd name="connsiteX2" fmla="*/ 6464300 w 6464300"/>
              <a:gd name="connsiteY2" fmla="*/ 16448 h 5927793"/>
              <a:gd name="connsiteX3" fmla="*/ 6464300 w 6464300"/>
              <a:gd name="connsiteY3" fmla="*/ 5927793 h 5927793"/>
              <a:gd name="connsiteX4" fmla="*/ 0 w 6464300"/>
              <a:gd name="connsiteY4" fmla="*/ 5927793 h 5927793"/>
              <a:gd name="connsiteX5" fmla="*/ 0 w 6464300"/>
              <a:gd name="connsiteY5" fmla="*/ 16448 h 5927793"/>
              <a:gd name="connsiteX0" fmla="*/ 0 w 6474132"/>
              <a:gd name="connsiteY0" fmla="*/ 980009 h 5927793"/>
              <a:gd name="connsiteX1" fmla="*/ 24171 w 6474132"/>
              <a:gd name="connsiteY1" fmla="*/ 0 h 5927793"/>
              <a:gd name="connsiteX2" fmla="*/ 6474132 w 6474132"/>
              <a:gd name="connsiteY2" fmla="*/ 16448 h 5927793"/>
              <a:gd name="connsiteX3" fmla="*/ 6474132 w 6474132"/>
              <a:gd name="connsiteY3" fmla="*/ 5927793 h 5927793"/>
              <a:gd name="connsiteX4" fmla="*/ 9832 w 6474132"/>
              <a:gd name="connsiteY4" fmla="*/ 5927793 h 5927793"/>
              <a:gd name="connsiteX5" fmla="*/ 0 w 6474132"/>
              <a:gd name="connsiteY5" fmla="*/ 980009 h 5927793"/>
              <a:gd name="connsiteX0" fmla="*/ 0 w 6474132"/>
              <a:gd name="connsiteY0" fmla="*/ 963561 h 5911345"/>
              <a:gd name="connsiteX1" fmla="*/ 2269 w 6474132"/>
              <a:gd name="connsiteY1" fmla="*/ 21881 h 5911345"/>
              <a:gd name="connsiteX2" fmla="*/ 6474132 w 6474132"/>
              <a:gd name="connsiteY2" fmla="*/ 0 h 5911345"/>
              <a:gd name="connsiteX3" fmla="*/ 6474132 w 6474132"/>
              <a:gd name="connsiteY3" fmla="*/ 5911345 h 5911345"/>
              <a:gd name="connsiteX4" fmla="*/ 9832 w 6474132"/>
              <a:gd name="connsiteY4" fmla="*/ 5911345 h 5911345"/>
              <a:gd name="connsiteX5" fmla="*/ 0 w 6474132"/>
              <a:gd name="connsiteY5" fmla="*/ 963561 h 5911345"/>
              <a:gd name="connsiteX0" fmla="*/ 0 w 6474132"/>
              <a:gd name="connsiteY0" fmla="*/ 963582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63582 h 5911366"/>
              <a:gd name="connsiteX0" fmla="*/ 0 w 6474132"/>
              <a:gd name="connsiteY0" fmla="*/ 930729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30729 h 5911366"/>
              <a:gd name="connsiteX0" fmla="*/ 0 w 6474132"/>
              <a:gd name="connsiteY0" fmla="*/ 908827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08827 h 5911366"/>
              <a:gd name="connsiteX0" fmla="*/ 14184 w 6471890"/>
              <a:gd name="connsiteY0" fmla="*/ 930729 h 5911366"/>
              <a:gd name="connsiteX1" fmla="*/ 27 w 6471890"/>
              <a:gd name="connsiteY1" fmla="*/ 0 h 5911366"/>
              <a:gd name="connsiteX2" fmla="*/ 6471890 w 6471890"/>
              <a:gd name="connsiteY2" fmla="*/ 21 h 5911366"/>
              <a:gd name="connsiteX3" fmla="*/ 6471890 w 6471890"/>
              <a:gd name="connsiteY3" fmla="*/ 5911366 h 5911366"/>
              <a:gd name="connsiteX4" fmla="*/ 7590 w 6471890"/>
              <a:gd name="connsiteY4" fmla="*/ 5911366 h 5911366"/>
              <a:gd name="connsiteX5" fmla="*/ 14184 w 6471890"/>
              <a:gd name="connsiteY5" fmla="*/ 930729 h 5911366"/>
              <a:gd name="connsiteX0" fmla="*/ 68918 w 6471870"/>
              <a:gd name="connsiteY0" fmla="*/ 919778 h 5911366"/>
              <a:gd name="connsiteX1" fmla="*/ 7 w 6471870"/>
              <a:gd name="connsiteY1" fmla="*/ 0 h 5911366"/>
              <a:gd name="connsiteX2" fmla="*/ 6471870 w 6471870"/>
              <a:gd name="connsiteY2" fmla="*/ 21 h 5911366"/>
              <a:gd name="connsiteX3" fmla="*/ 6471870 w 6471870"/>
              <a:gd name="connsiteY3" fmla="*/ 5911366 h 5911366"/>
              <a:gd name="connsiteX4" fmla="*/ 7570 w 6471870"/>
              <a:gd name="connsiteY4" fmla="*/ 5911366 h 5911366"/>
              <a:gd name="connsiteX5" fmla="*/ 68918 w 6471870"/>
              <a:gd name="connsiteY5" fmla="*/ 919778 h 5911366"/>
              <a:gd name="connsiteX0" fmla="*/ 3287 w 6471945"/>
              <a:gd name="connsiteY0" fmla="*/ 947155 h 5911366"/>
              <a:gd name="connsiteX1" fmla="*/ 82 w 6471945"/>
              <a:gd name="connsiteY1" fmla="*/ 0 h 5911366"/>
              <a:gd name="connsiteX2" fmla="*/ 6471945 w 6471945"/>
              <a:gd name="connsiteY2" fmla="*/ 21 h 5911366"/>
              <a:gd name="connsiteX3" fmla="*/ 6471945 w 6471945"/>
              <a:gd name="connsiteY3" fmla="*/ 5911366 h 5911366"/>
              <a:gd name="connsiteX4" fmla="*/ 7645 w 6471945"/>
              <a:gd name="connsiteY4" fmla="*/ 5911366 h 5911366"/>
              <a:gd name="connsiteX5" fmla="*/ 3287 w 6471945"/>
              <a:gd name="connsiteY5" fmla="*/ 947155 h 5911366"/>
              <a:gd name="connsiteX0" fmla="*/ 0 w 6474134"/>
              <a:gd name="connsiteY0" fmla="*/ 914302 h 5911366"/>
              <a:gd name="connsiteX1" fmla="*/ 2271 w 6474134"/>
              <a:gd name="connsiteY1" fmla="*/ 0 h 5911366"/>
              <a:gd name="connsiteX2" fmla="*/ 6474134 w 6474134"/>
              <a:gd name="connsiteY2" fmla="*/ 21 h 5911366"/>
              <a:gd name="connsiteX3" fmla="*/ 6474134 w 6474134"/>
              <a:gd name="connsiteY3" fmla="*/ 5911366 h 5911366"/>
              <a:gd name="connsiteX4" fmla="*/ 9834 w 6474134"/>
              <a:gd name="connsiteY4" fmla="*/ 5911366 h 5911366"/>
              <a:gd name="connsiteX5" fmla="*/ 0 w 6474134"/>
              <a:gd name="connsiteY5" fmla="*/ 914302 h 5911366"/>
              <a:gd name="connsiteX0" fmla="*/ 8721 w 6471904"/>
              <a:gd name="connsiteY0" fmla="*/ 925253 h 5911366"/>
              <a:gd name="connsiteX1" fmla="*/ 41 w 6471904"/>
              <a:gd name="connsiteY1" fmla="*/ 0 h 5911366"/>
              <a:gd name="connsiteX2" fmla="*/ 6471904 w 6471904"/>
              <a:gd name="connsiteY2" fmla="*/ 21 h 5911366"/>
              <a:gd name="connsiteX3" fmla="*/ 6471904 w 6471904"/>
              <a:gd name="connsiteY3" fmla="*/ 5911366 h 5911366"/>
              <a:gd name="connsiteX4" fmla="*/ 7604 w 6471904"/>
              <a:gd name="connsiteY4" fmla="*/ 5911366 h 5911366"/>
              <a:gd name="connsiteX5" fmla="*/ 8721 w 6471904"/>
              <a:gd name="connsiteY5" fmla="*/ 925253 h 5911366"/>
              <a:gd name="connsiteX0" fmla="*/ 0 w 6473816"/>
              <a:gd name="connsiteY0" fmla="*/ 93588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0 w 6473816"/>
              <a:gd name="connsiteY5" fmla="*/ 935886 h 5911366"/>
              <a:gd name="connsiteX0" fmla="*/ 473219 w 6947035"/>
              <a:gd name="connsiteY0" fmla="*/ 935886 h 5911366"/>
              <a:gd name="connsiteX1" fmla="*/ 475172 w 6947035"/>
              <a:gd name="connsiteY1" fmla="*/ 0 h 5911366"/>
              <a:gd name="connsiteX2" fmla="*/ 6947035 w 6947035"/>
              <a:gd name="connsiteY2" fmla="*/ 21 h 5911366"/>
              <a:gd name="connsiteX3" fmla="*/ 6947035 w 6947035"/>
              <a:gd name="connsiteY3" fmla="*/ 5911366 h 5911366"/>
              <a:gd name="connsiteX4" fmla="*/ 482735 w 6947035"/>
              <a:gd name="connsiteY4" fmla="*/ 5911366 h 5911366"/>
              <a:gd name="connsiteX5" fmla="*/ 470036 w 6947035"/>
              <a:gd name="connsiteY5" fmla="*/ 2732490 h 5911366"/>
              <a:gd name="connsiteX6" fmla="*/ 473219 w 6947035"/>
              <a:gd name="connsiteY6" fmla="*/ 935886 h 5911366"/>
              <a:gd name="connsiteX0" fmla="*/ 472029 w 6945845"/>
              <a:gd name="connsiteY0" fmla="*/ 935886 h 5911366"/>
              <a:gd name="connsiteX1" fmla="*/ 473982 w 6945845"/>
              <a:gd name="connsiteY1" fmla="*/ 0 h 5911366"/>
              <a:gd name="connsiteX2" fmla="*/ 6945845 w 6945845"/>
              <a:gd name="connsiteY2" fmla="*/ 21 h 5911366"/>
              <a:gd name="connsiteX3" fmla="*/ 6945845 w 6945845"/>
              <a:gd name="connsiteY3" fmla="*/ 5911366 h 5911366"/>
              <a:gd name="connsiteX4" fmla="*/ 481545 w 6945845"/>
              <a:gd name="connsiteY4" fmla="*/ 5911366 h 5911366"/>
              <a:gd name="connsiteX5" fmla="*/ 468846 w 6945845"/>
              <a:gd name="connsiteY5" fmla="*/ 2732490 h 5911366"/>
              <a:gd name="connsiteX6" fmla="*/ 472029 w 6945845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8563 w 6482379"/>
              <a:gd name="connsiteY0" fmla="*/ 935886 h 5911366"/>
              <a:gd name="connsiteX1" fmla="*/ 10516 w 6482379"/>
              <a:gd name="connsiteY1" fmla="*/ 0 h 5911366"/>
              <a:gd name="connsiteX2" fmla="*/ 6482379 w 6482379"/>
              <a:gd name="connsiteY2" fmla="*/ 21 h 5911366"/>
              <a:gd name="connsiteX3" fmla="*/ 6482379 w 6482379"/>
              <a:gd name="connsiteY3" fmla="*/ 5911366 h 5911366"/>
              <a:gd name="connsiteX4" fmla="*/ 18079 w 6482379"/>
              <a:gd name="connsiteY4" fmla="*/ 5911366 h 5911366"/>
              <a:gd name="connsiteX5" fmla="*/ 5380 w 6482379"/>
              <a:gd name="connsiteY5" fmla="*/ 2732490 h 5911366"/>
              <a:gd name="connsiteX6" fmla="*/ 64 w 6482379"/>
              <a:gd name="connsiteY6" fmla="*/ 2599583 h 5911366"/>
              <a:gd name="connsiteX7" fmla="*/ 8563 w 6482379"/>
              <a:gd name="connsiteY7" fmla="*/ 935886 h 5911366"/>
              <a:gd name="connsiteX0" fmla="*/ 14065 w 6487881"/>
              <a:gd name="connsiteY0" fmla="*/ 935886 h 5911366"/>
              <a:gd name="connsiteX1" fmla="*/ 16018 w 6487881"/>
              <a:gd name="connsiteY1" fmla="*/ 0 h 5911366"/>
              <a:gd name="connsiteX2" fmla="*/ 6487881 w 6487881"/>
              <a:gd name="connsiteY2" fmla="*/ 21 h 5911366"/>
              <a:gd name="connsiteX3" fmla="*/ 6487881 w 6487881"/>
              <a:gd name="connsiteY3" fmla="*/ 5911366 h 5911366"/>
              <a:gd name="connsiteX4" fmla="*/ 23581 w 6487881"/>
              <a:gd name="connsiteY4" fmla="*/ 5911366 h 5911366"/>
              <a:gd name="connsiteX5" fmla="*/ 10882 w 6487881"/>
              <a:gd name="connsiteY5" fmla="*/ 2732490 h 5911366"/>
              <a:gd name="connsiteX6" fmla="*/ 5566 w 6487881"/>
              <a:gd name="connsiteY6" fmla="*/ 2599583 h 5911366"/>
              <a:gd name="connsiteX7" fmla="*/ 250 w 6487881"/>
              <a:gd name="connsiteY7" fmla="*/ 2067955 h 5911366"/>
              <a:gd name="connsiteX8" fmla="*/ 14065 w 6487881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89335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893356 h 5911366"/>
              <a:gd name="connsiteX0" fmla="*/ 3201 w 6477017"/>
              <a:gd name="connsiteY0" fmla="*/ 893356 h 5911366"/>
              <a:gd name="connsiteX1" fmla="*/ 5154 w 6477017"/>
              <a:gd name="connsiteY1" fmla="*/ 0 h 5911366"/>
              <a:gd name="connsiteX2" fmla="*/ 6477017 w 6477017"/>
              <a:gd name="connsiteY2" fmla="*/ 21 h 5911366"/>
              <a:gd name="connsiteX3" fmla="*/ 6477017 w 6477017"/>
              <a:gd name="connsiteY3" fmla="*/ 5911366 h 5911366"/>
              <a:gd name="connsiteX4" fmla="*/ 12717 w 6477017"/>
              <a:gd name="connsiteY4" fmla="*/ 5911366 h 5911366"/>
              <a:gd name="connsiteX5" fmla="*/ 18 w 6477017"/>
              <a:gd name="connsiteY5" fmla="*/ 2732490 h 5911366"/>
              <a:gd name="connsiteX6" fmla="*/ 382790 w 6477017"/>
              <a:gd name="connsiteY6" fmla="*/ 2487941 h 5911366"/>
              <a:gd name="connsiteX7" fmla="*/ 398739 w 6477017"/>
              <a:gd name="connsiteY7" fmla="*/ 1286462 h 5911366"/>
              <a:gd name="connsiteX8" fmla="*/ 3201 w 6477017"/>
              <a:gd name="connsiteY8" fmla="*/ 893356 h 5911366"/>
              <a:gd name="connsiteX0" fmla="*/ 8517 w 6482333"/>
              <a:gd name="connsiteY0" fmla="*/ 893356 h 5911366"/>
              <a:gd name="connsiteX1" fmla="*/ 10470 w 6482333"/>
              <a:gd name="connsiteY1" fmla="*/ 0 h 5911366"/>
              <a:gd name="connsiteX2" fmla="*/ 6482333 w 6482333"/>
              <a:gd name="connsiteY2" fmla="*/ 21 h 5911366"/>
              <a:gd name="connsiteX3" fmla="*/ 6482333 w 6482333"/>
              <a:gd name="connsiteY3" fmla="*/ 5911366 h 5911366"/>
              <a:gd name="connsiteX4" fmla="*/ 18033 w 6482333"/>
              <a:gd name="connsiteY4" fmla="*/ 5911366 h 5911366"/>
              <a:gd name="connsiteX5" fmla="*/ 17 w 6482333"/>
              <a:gd name="connsiteY5" fmla="*/ 2913244 h 5911366"/>
              <a:gd name="connsiteX6" fmla="*/ 388106 w 6482333"/>
              <a:gd name="connsiteY6" fmla="*/ 2487941 h 5911366"/>
              <a:gd name="connsiteX7" fmla="*/ 404055 w 6482333"/>
              <a:gd name="connsiteY7" fmla="*/ 1286462 h 5911366"/>
              <a:gd name="connsiteX8" fmla="*/ 8517 w 6482333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19696 w 6493512"/>
              <a:gd name="connsiteY0" fmla="*/ 893356 h 5911366"/>
              <a:gd name="connsiteX1" fmla="*/ 21649 w 6493512"/>
              <a:gd name="connsiteY1" fmla="*/ 0 h 5911366"/>
              <a:gd name="connsiteX2" fmla="*/ 6493512 w 6493512"/>
              <a:gd name="connsiteY2" fmla="*/ 21 h 5911366"/>
              <a:gd name="connsiteX3" fmla="*/ 6493512 w 6493512"/>
              <a:gd name="connsiteY3" fmla="*/ 5911366 h 5911366"/>
              <a:gd name="connsiteX4" fmla="*/ 29212 w 6493512"/>
              <a:gd name="connsiteY4" fmla="*/ 5911366 h 5911366"/>
              <a:gd name="connsiteX5" fmla="*/ 0 w 6493512"/>
              <a:gd name="connsiteY5" fmla="*/ 2794617 h 5911366"/>
              <a:gd name="connsiteX6" fmla="*/ 399285 w 6493512"/>
              <a:gd name="connsiteY6" fmla="*/ 2487941 h 5911366"/>
              <a:gd name="connsiteX7" fmla="*/ 415234 w 6493512"/>
              <a:gd name="connsiteY7" fmla="*/ 1286462 h 5911366"/>
              <a:gd name="connsiteX8" fmla="*/ 19696 w 6493512"/>
              <a:gd name="connsiteY8" fmla="*/ 893356 h 5911366"/>
              <a:gd name="connsiteX0" fmla="*/ 19696 w 6493512"/>
              <a:gd name="connsiteY0" fmla="*/ 893356 h 5911366"/>
              <a:gd name="connsiteX1" fmla="*/ 21649 w 6493512"/>
              <a:gd name="connsiteY1" fmla="*/ 0 h 5911366"/>
              <a:gd name="connsiteX2" fmla="*/ 6493512 w 6493512"/>
              <a:gd name="connsiteY2" fmla="*/ 21 h 5911366"/>
              <a:gd name="connsiteX3" fmla="*/ 6493512 w 6493512"/>
              <a:gd name="connsiteY3" fmla="*/ 5911366 h 5911366"/>
              <a:gd name="connsiteX4" fmla="*/ 29212 w 6493512"/>
              <a:gd name="connsiteY4" fmla="*/ 5911366 h 5911366"/>
              <a:gd name="connsiteX5" fmla="*/ 0 w 6493512"/>
              <a:gd name="connsiteY5" fmla="*/ 2794617 h 5911366"/>
              <a:gd name="connsiteX6" fmla="*/ 399285 w 6493512"/>
              <a:gd name="connsiteY6" fmla="*/ 2487941 h 5911366"/>
              <a:gd name="connsiteX7" fmla="*/ 415234 w 6493512"/>
              <a:gd name="connsiteY7" fmla="*/ 1286462 h 5911366"/>
              <a:gd name="connsiteX8" fmla="*/ 19696 w 6493512"/>
              <a:gd name="connsiteY8" fmla="*/ 893356 h 5911366"/>
              <a:gd name="connsiteX0" fmla="*/ 19696 w 6493512"/>
              <a:gd name="connsiteY0" fmla="*/ 893356 h 5911366"/>
              <a:gd name="connsiteX1" fmla="*/ 21649 w 6493512"/>
              <a:gd name="connsiteY1" fmla="*/ 0 h 5911366"/>
              <a:gd name="connsiteX2" fmla="*/ 6493512 w 6493512"/>
              <a:gd name="connsiteY2" fmla="*/ 21 h 5911366"/>
              <a:gd name="connsiteX3" fmla="*/ 6493512 w 6493512"/>
              <a:gd name="connsiteY3" fmla="*/ 5911366 h 5911366"/>
              <a:gd name="connsiteX4" fmla="*/ 29212 w 6493512"/>
              <a:gd name="connsiteY4" fmla="*/ 5911366 h 5911366"/>
              <a:gd name="connsiteX5" fmla="*/ 0 w 6493512"/>
              <a:gd name="connsiteY5" fmla="*/ 2803616 h 5911366"/>
              <a:gd name="connsiteX6" fmla="*/ 399285 w 6493512"/>
              <a:gd name="connsiteY6" fmla="*/ 2487941 h 5911366"/>
              <a:gd name="connsiteX7" fmla="*/ 415234 w 6493512"/>
              <a:gd name="connsiteY7" fmla="*/ 1286462 h 5911366"/>
              <a:gd name="connsiteX8" fmla="*/ 19696 w 6493512"/>
              <a:gd name="connsiteY8" fmla="*/ 893356 h 5911366"/>
              <a:gd name="connsiteX0" fmla="*/ 19696 w 6493512"/>
              <a:gd name="connsiteY0" fmla="*/ 893356 h 5911366"/>
              <a:gd name="connsiteX1" fmla="*/ 21649 w 6493512"/>
              <a:gd name="connsiteY1" fmla="*/ 0 h 5911366"/>
              <a:gd name="connsiteX2" fmla="*/ 6493512 w 6493512"/>
              <a:gd name="connsiteY2" fmla="*/ 21 h 5911366"/>
              <a:gd name="connsiteX3" fmla="*/ 6493512 w 6493512"/>
              <a:gd name="connsiteY3" fmla="*/ 5911366 h 5911366"/>
              <a:gd name="connsiteX4" fmla="*/ 29212 w 6493512"/>
              <a:gd name="connsiteY4" fmla="*/ 5911366 h 5911366"/>
              <a:gd name="connsiteX5" fmla="*/ 0 w 6493512"/>
              <a:gd name="connsiteY5" fmla="*/ 2803616 h 5911366"/>
              <a:gd name="connsiteX6" fmla="*/ 399285 w 6493512"/>
              <a:gd name="connsiteY6" fmla="*/ 2487941 h 5911366"/>
              <a:gd name="connsiteX7" fmla="*/ 415234 w 6493512"/>
              <a:gd name="connsiteY7" fmla="*/ 1286462 h 5911366"/>
              <a:gd name="connsiteX8" fmla="*/ 19696 w 6493512"/>
              <a:gd name="connsiteY8" fmla="*/ 893356 h 5911366"/>
              <a:gd name="connsiteX0" fmla="*/ 0 w 6473816"/>
              <a:gd name="connsiteY0" fmla="*/ 89335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2697 w 6473816"/>
              <a:gd name="connsiteY5" fmla="*/ 2803616 h 5911366"/>
              <a:gd name="connsiteX6" fmla="*/ 379589 w 6473816"/>
              <a:gd name="connsiteY6" fmla="*/ 2487941 h 5911366"/>
              <a:gd name="connsiteX7" fmla="*/ 395538 w 6473816"/>
              <a:gd name="connsiteY7" fmla="*/ 1286462 h 5911366"/>
              <a:gd name="connsiteX8" fmla="*/ 0 w 6473816"/>
              <a:gd name="connsiteY8" fmla="*/ 893356 h 5911366"/>
              <a:gd name="connsiteX0" fmla="*/ 0 w 6473816"/>
              <a:gd name="connsiteY0" fmla="*/ 89335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2697 w 6473816"/>
              <a:gd name="connsiteY5" fmla="*/ 2803616 h 5911366"/>
              <a:gd name="connsiteX6" fmla="*/ 390784 w 6473816"/>
              <a:gd name="connsiteY6" fmla="*/ 2496941 h 5911366"/>
              <a:gd name="connsiteX7" fmla="*/ 395538 w 6473816"/>
              <a:gd name="connsiteY7" fmla="*/ 1286462 h 5911366"/>
              <a:gd name="connsiteX8" fmla="*/ 0 w 6473816"/>
              <a:gd name="connsiteY8" fmla="*/ 893356 h 5911366"/>
              <a:gd name="connsiteX0" fmla="*/ 0 w 6473816"/>
              <a:gd name="connsiteY0" fmla="*/ 89335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2697 w 6473816"/>
              <a:gd name="connsiteY5" fmla="*/ 2803616 h 5911366"/>
              <a:gd name="connsiteX6" fmla="*/ 390784 w 6473816"/>
              <a:gd name="connsiteY6" fmla="*/ 2496941 h 5911366"/>
              <a:gd name="connsiteX7" fmla="*/ 395538 w 6473816"/>
              <a:gd name="connsiteY7" fmla="*/ 1286462 h 5911366"/>
              <a:gd name="connsiteX8" fmla="*/ 0 w 6473816"/>
              <a:gd name="connsiteY8" fmla="*/ 893356 h 5911366"/>
              <a:gd name="connsiteX0" fmla="*/ 0 w 6473816"/>
              <a:gd name="connsiteY0" fmla="*/ 89335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2696 w 6473816"/>
              <a:gd name="connsiteY5" fmla="*/ 2794617 h 5911366"/>
              <a:gd name="connsiteX6" fmla="*/ 390784 w 6473816"/>
              <a:gd name="connsiteY6" fmla="*/ 2496941 h 5911366"/>
              <a:gd name="connsiteX7" fmla="*/ 395538 w 6473816"/>
              <a:gd name="connsiteY7" fmla="*/ 1286462 h 5911366"/>
              <a:gd name="connsiteX8" fmla="*/ 0 w 6473816"/>
              <a:gd name="connsiteY8" fmla="*/ 893356 h 5911366"/>
              <a:gd name="connsiteX0" fmla="*/ 0 w 6473816"/>
              <a:gd name="connsiteY0" fmla="*/ 89335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2696 w 6473816"/>
              <a:gd name="connsiteY5" fmla="*/ 2830615 h 5911366"/>
              <a:gd name="connsiteX6" fmla="*/ 390784 w 6473816"/>
              <a:gd name="connsiteY6" fmla="*/ 2496941 h 5911366"/>
              <a:gd name="connsiteX7" fmla="*/ 395538 w 6473816"/>
              <a:gd name="connsiteY7" fmla="*/ 1286462 h 5911366"/>
              <a:gd name="connsiteX8" fmla="*/ 0 w 6473816"/>
              <a:gd name="connsiteY8" fmla="*/ 893356 h 5911366"/>
              <a:gd name="connsiteX0" fmla="*/ 6056 w 6479872"/>
              <a:gd name="connsiteY0" fmla="*/ 893356 h 5911366"/>
              <a:gd name="connsiteX1" fmla="*/ 8009 w 6479872"/>
              <a:gd name="connsiteY1" fmla="*/ 0 h 5911366"/>
              <a:gd name="connsiteX2" fmla="*/ 6479872 w 6479872"/>
              <a:gd name="connsiteY2" fmla="*/ 21 h 5911366"/>
              <a:gd name="connsiteX3" fmla="*/ 6479872 w 6479872"/>
              <a:gd name="connsiteY3" fmla="*/ 5911366 h 5911366"/>
              <a:gd name="connsiteX4" fmla="*/ 15572 w 6479872"/>
              <a:gd name="connsiteY4" fmla="*/ 5911366 h 5911366"/>
              <a:gd name="connsiteX5" fmla="*/ 0 w 6479872"/>
              <a:gd name="connsiteY5" fmla="*/ 2802472 h 5911366"/>
              <a:gd name="connsiteX6" fmla="*/ 396840 w 6479872"/>
              <a:gd name="connsiteY6" fmla="*/ 2496941 h 5911366"/>
              <a:gd name="connsiteX7" fmla="*/ 401594 w 6479872"/>
              <a:gd name="connsiteY7" fmla="*/ 1286462 h 5911366"/>
              <a:gd name="connsiteX8" fmla="*/ 6056 w 6479872"/>
              <a:gd name="connsiteY8" fmla="*/ 893356 h 5911366"/>
              <a:gd name="connsiteX0" fmla="*/ 6250 w 6480066"/>
              <a:gd name="connsiteY0" fmla="*/ 893356 h 5911366"/>
              <a:gd name="connsiteX1" fmla="*/ 8203 w 6480066"/>
              <a:gd name="connsiteY1" fmla="*/ 0 h 5911366"/>
              <a:gd name="connsiteX2" fmla="*/ 6480066 w 6480066"/>
              <a:gd name="connsiteY2" fmla="*/ 21 h 5911366"/>
              <a:gd name="connsiteX3" fmla="*/ 6480066 w 6480066"/>
              <a:gd name="connsiteY3" fmla="*/ 5911366 h 5911366"/>
              <a:gd name="connsiteX4" fmla="*/ 15766 w 6480066"/>
              <a:gd name="connsiteY4" fmla="*/ 5911366 h 5911366"/>
              <a:gd name="connsiteX5" fmla="*/ 194 w 6480066"/>
              <a:gd name="connsiteY5" fmla="*/ 2802472 h 5911366"/>
              <a:gd name="connsiteX6" fmla="*/ 397034 w 6480066"/>
              <a:gd name="connsiteY6" fmla="*/ 2496941 h 5911366"/>
              <a:gd name="connsiteX7" fmla="*/ 401788 w 6480066"/>
              <a:gd name="connsiteY7" fmla="*/ 1286462 h 5911366"/>
              <a:gd name="connsiteX8" fmla="*/ 6250 w 6480066"/>
              <a:gd name="connsiteY8" fmla="*/ 893356 h 5911366"/>
              <a:gd name="connsiteX0" fmla="*/ 0 w 6473816"/>
              <a:gd name="connsiteY0" fmla="*/ 89335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11452 w 6473816"/>
              <a:gd name="connsiteY5" fmla="*/ 2809508 h 5911366"/>
              <a:gd name="connsiteX6" fmla="*/ 390784 w 6473816"/>
              <a:gd name="connsiteY6" fmla="*/ 2496941 h 5911366"/>
              <a:gd name="connsiteX7" fmla="*/ 395538 w 6473816"/>
              <a:gd name="connsiteY7" fmla="*/ 1286462 h 5911366"/>
              <a:gd name="connsiteX8" fmla="*/ 0 w 6473816"/>
              <a:gd name="connsiteY8" fmla="*/ 893356 h 5911366"/>
              <a:gd name="connsiteX0" fmla="*/ 6250 w 6480066"/>
              <a:gd name="connsiteY0" fmla="*/ 893356 h 5911366"/>
              <a:gd name="connsiteX1" fmla="*/ 8203 w 6480066"/>
              <a:gd name="connsiteY1" fmla="*/ 0 h 5911366"/>
              <a:gd name="connsiteX2" fmla="*/ 6480066 w 6480066"/>
              <a:gd name="connsiteY2" fmla="*/ 21 h 5911366"/>
              <a:gd name="connsiteX3" fmla="*/ 6480066 w 6480066"/>
              <a:gd name="connsiteY3" fmla="*/ 5911366 h 5911366"/>
              <a:gd name="connsiteX4" fmla="*/ 15766 w 6480066"/>
              <a:gd name="connsiteY4" fmla="*/ 5911366 h 5911366"/>
              <a:gd name="connsiteX5" fmla="*/ 194 w 6480066"/>
              <a:gd name="connsiteY5" fmla="*/ 2809508 h 5911366"/>
              <a:gd name="connsiteX6" fmla="*/ 397034 w 6480066"/>
              <a:gd name="connsiteY6" fmla="*/ 2496941 h 5911366"/>
              <a:gd name="connsiteX7" fmla="*/ 401788 w 6480066"/>
              <a:gd name="connsiteY7" fmla="*/ 1286462 h 5911366"/>
              <a:gd name="connsiteX8" fmla="*/ 6250 w 6480066"/>
              <a:gd name="connsiteY8" fmla="*/ 893356 h 5911366"/>
              <a:gd name="connsiteX0" fmla="*/ 0 w 6473816"/>
              <a:gd name="connsiteY0" fmla="*/ 89335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2698 w 6473816"/>
              <a:gd name="connsiteY5" fmla="*/ 2816545 h 5911366"/>
              <a:gd name="connsiteX6" fmla="*/ 390784 w 6473816"/>
              <a:gd name="connsiteY6" fmla="*/ 2496941 h 5911366"/>
              <a:gd name="connsiteX7" fmla="*/ 395538 w 6473816"/>
              <a:gd name="connsiteY7" fmla="*/ 1286462 h 5911366"/>
              <a:gd name="connsiteX8" fmla="*/ 0 w 6473816"/>
              <a:gd name="connsiteY8" fmla="*/ 893356 h 5911366"/>
              <a:gd name="connsiteX0" fmla="*/ 6250 w 6480066"/>
              <a:gd name="connsiteY0" fmla="*/ 893356 h 5911366"/>
              <a:gd name="connsiteX1" fmla="*/ 8203 w 6480066"/>
              <a:gd name="connsiteY1" fmla="*/ 0 h 5911366"/>
              <a:gd name="connsiteX2" fmla="*/ 6480066 w 6480066"/>
              <a:gd name="connsiteY2" fmla="*/ 21 h 5911366"/>
              <a:gd name="connsiteX3" fmla="*/ 6480066 w 6480066"/>
              <a:gd name="connsiteY3" fmla="*/ 5911366 h 5911366"/>
              <a:gd name="connsiteX4" fmla="*/ 15766 w 6480066"/>
              <a:gd name="connsiteY4" fmla="*/ 5911366 h 5911366"/>
              <a:gd name="connsiteX5" fmla="*/ 194 w 6480066"/>
              <a:gd name="connsiteY5" fmla="*/ 2788401 h 5911366"/>
              <a:gd name="connsiteX6" fmla="*/ 397034 w 6480066"/>
              <a:gd name="connsiteY6" fmla="*/ 2496941 h 5911366"/>
              <a:gd name="connsiteX7" fmla="*/ 401788 w 6480066"/>
              <a:gd name="connsiteY7" fmla="*/ 1286462 h 5911366"/>
              <a:gd name="connsiteX8" fmla="*/ 6250 w 6480066"/>
              <a:gd name="connsiteY8" fmla="*/ 893356 h 5911366"/>
              <a:gd name="connsiteX0" fmla="*/ 6250 w 6480066"/>
              <a:gd name="connsiteY0" fmla="*/ 893356 h 5911366"/>
              <a:gd name="connsiteX1" fmla="*/ 8203 w 6480066"/>
              <a:gd name="connsiteY1" fmla="*/ 0 h 5911366"/>
              <a:gd name="connsiteX2" fmla="*/ 6480066 w 6480066"/>
              <a:gd name="connsiteY2" fmla="*/ 21 h 5911366"/>
              <a:gd name="connsiteX3" fmla="*/ 6480066 w 6480066"/>
              <a:gd name="connsiteY3" fmla="*/ 5911366 h 5911366"/>
              <a:gd name="connsiteX4" fmla="*/ 15766 w 6480066"/>
              <a:gd name="connsiteY4" fmla="*/ 5911366 h 5911366"/>
              <a:gd name="connsiteX5" fmla="*/ 194 w 6480066"/>
              <a:gd name="connsiteY5" fmla="*/ 2788401 h 5911366"/>
              <a:gd name="connsiteX6" fmla="*/ 397034 w 6480066"/>
              <a:gd name="connsiteY6" fmla="*/ 2496941 h 5911366"/>
              <a:gd name="connsiteX7" fmla="*/ 401788 w 6480066"/>
              <a:gd name="connsiteY7" fmla="*/ 1286462 h 5911366"/>
              <a:gd name="connsiteX8" fmla="*/ 6250 w 6480066"/>
              <a:gd name="connsiteY8" fmla="*/ 893356 h 5911366"/>
              <a:gd name="connsiteX0" fmla="*/ 6250 w 6480066"/>
              <a:gd name="connsiteY0" fmla="*/ 893356 h 5911366"/>
              <a:gd name="connsiteX1" fmla="*/ 8203 w 6480066"/>
              <a:gd name="connsiteY1" fmla="*/ 0 h 5911366"/>
              <a:gd name="connsiteX2" fmla="*/ 6480066 w 6480066"/>
              <a:gd name="connsiteY2" fmla="*/ 21 h 5911366"/>
              <a:gd name="connsiteX3" fmla="*/ 6480066 w 6480066"/>
              <a:gd name="connsiteY3" fmla="*/ 5911366 h 5911366"/>
              <a:gd name="connsiteX4" fmla="*/ 15766 w 6480066"/>
              <a:gd name="connsiteY4" fmla="*/ 5911366 h 5911366"/>
              <a:gd name="connsiteX5" fmla="*/ 194 w 6480066"/>
              <a:gd name="connsiteY5" fmla="*/ 2788401 h 5911366"/>
              <a:gd name="connsiteX6" fmla="*/ 397035 w 6480066"/>
              <a:gd name="connsiteY6" fmla="*/ 2468796 h 5911366"/>
              <a:gd name="connsiteX7" fmla="*/ 401788 w 6480066"/>
              <a:gd name="connsiteY7" fmla="*/ 1286462 h 5911366"/>
              <a:gd name="connsiteX8" fmla="*/ 6250 w 6480066"/>
              <a:gd name="connsiteY8" fmla="*/ 893356 h 5911366"/>
              <a:gd name="connsiteX0" fmla="*/ 0 w 6482568"/>
              <a:gd name="connsiteY0" fmla="*/ 928536 h 5911366"/>
              <a:gd name="connsiteX1" fmla="*/ 10705 w 6482568"/>
              <a:gd name="connsiteY1" fmla="*/ 0 h 5911366"/>
              <a:gd name="connsiteX2" fmla="*/ 6482568 w 6482568"/>
              <a:gd name="connsiteY2" fmla="*/ 21 h 5911366"/>
              <a:gd name="connsiteX3" fmla="*/ 6482568 w 6482568"/>
              <a:gd name="connsiteY3" fmla="*/ 5911366 h 5911366"/>
              <a:gd name="connsiteX4" fmla="*/ 18268 w 6482568"/>
              <a:gd name="connsiteY4" fmla="*/ 5911366 h 5911366"/>
              <a:gd name="connsiteX5" fmla="*/ 2696 w 6482568"/>
              <a:gd name="connsiteY5" fmla="*/ 2788401 h 5911366"/>
              <a:gd name="connsiteX6" fmla="*/ 399537 w 6482568"/>
              <a:gd name="connsiteY6" fmla="*/ 2468796 h 5911366"/>
              <a:gd name="connsiteX7" fmla="*/ 404290 w 6482568"/>
              <a:gd name="connsiteY7" fmla="*/ 1286462 h 5911366"/>
              <a:gd name="connsiteX8" fmla="*/ 0 w 6482568"/>
              <a:gd name="connsiteY8" fmla="*/ 928536 h 5911366"/>
              <a:gd name="connsiteX0" fmla="*/ 0 w 6482568"/>
              <a:gd name="connsiteY0" fmla="*/ 928536 h 5911366"/>
              <a:gd name="connsiteX1" fmla="*/ 10705 w 6482568"/>
              <a:gd name="connsiteY1" fmla="*/ 0 h 5911366"/>
              <a:gd name="connsiteX2" fmla="*/ 6482568 w 6482568"/>
              <a:gd name="connsiteY2" fmla="*/ 21 h 5911366"/>
              <a:gd name="connsiteX3" fmla="*/ 6482568 w 6482568"/>
              <a:gd name="connsiteY3" fmla="*/ 5911366 h 5911366"/>
              <a:gd name="connsiteX4" fmla="*/ 18268 w 6482568"/>
              <a:gd name="connsiteY4" fmla="*/ 5911366 h 5911366"/>
              <a:gd name="connsiteX5" fmla="*/ 2696 w 6482568"/>
              <a:gd name="connsiteY5" fmla="*/ 2788401 h 5911366"/>
              <a:gd name="connsiteX6" fmla="*/ 399537 w 6482568"/>
              <a:gd name="connsiteY6" fmla="*/ 2468796 h 5911366"/>
              <a:gd name="connsiteX7" fmla="*/ 404290 w 6482568"/>
              <a:gd name="connsiteY7" fmla="*/ 1286462 h 5911366"/>
              <a:gd name="connsiteX8" fmla="*/ 0 w 6482568"/>
              <a:gd name="connsiteY8" fmla="*/ 928536 h 5911366"/>
              <a:gd name="connsiteX0" fmla="*/ 0 w 6482568"/>
              <a:gd name="connsiteY0" fmla="*/ 928536 h 5911366"/>
              <a:gd name="connsiteX1" fmla="*/ 10705 w 6482568"/>
              <a:gd name="connsiteY1" fmla="*/ 0 h 5911366"/>
              <a:gd name="connsiteX2" fmla="*/ 6482568 w 6482568"/>
              <a:gd name="connsiteY2" fmla="*/ 21 h 5911366"/>
              <a:gd name="connsiteX3" fmla="*/ 6482568 w 6482568"/>
              <a:gd name="connsiteY3" fmla="*/ 5911366 h 5911366"/>
              <a:gd name="connsiteX4" fmla="*/ 18268 w 6482568"/>
              <a:gd name="connsiteY4" fmla="*/ 5911366 h 5911366"/>
              <a:gd name="connsiteX5" fmla="*/ 2696 w 6482568"/>
              <a:gd name="connsiteY5" fmla="*/ 2788401 h 5911366"/>
              <a:gd name="connsiteX6" fmla="*/ 399537 w 6482568"/>
              <a:gd name="connsiteY6" fmla="*/ 2468796 h 5911366"/>
              <a:gd name="connsiteX7" fmla="*/ 404290 w 6482568"/>
              <a:gd name="connsiteY7" fmla="*/ 1286462 h 5911366"/>
              <a:gd name="connsiteX8" fmla="*/ 0 w 6482568"/>
              <a:gd name="connsiteY8" fmla="*/ 928536 h 5911366"/>
              <a:gd name="connsiteX0" fmla="*/ 0 w 6482568"/>
              <a:gd name="connsiteY0" fmla="*/ 946654 h 5929484"/>
              <a:gd name="connsiteX1" fmla="*/ 10705 w 6482568"/>
              <a:gd name="connsiteY1" fmla="*/ 18118 h 5929484"/>
              <a:gd name="connsiteX2" fmla="*/ 5611645 w 6482568"/>
              <a:gd name="connsiteY2" fmla="*/ 0 h 5929484"/>
              <a:gd name="connsiteX3" fmla="*/ 6482568 w 6482568"/>
              <a:gd name="connsiteY3" fmla="*/ 5929484 h 5929484"/>
              <a:gd name="connsiteX4" fmla="*/ 18268 w 6482568"/>
              <a:gd name="connsiteY4" fmla="*/ 5929484 h 5929484"/>
              <a:gd name="connsiteX5" fmla="*/ 2696 w 6482568"/>
              <a:gd name="connsiteY5" fmla="*/ 2806519 h 5929484"/>
              <a:gd name="connsiteX6" fmla="*/ 399537 w 6482568"/>
              <a:gd name="connsiteY6" fmla="*/ 2486914 h 5929484"/>
              <a:gd name="connsiteX7" fmla="*/ 404290 w 6482568"/>
              <a:gd name="connsiteY7" fmla="*/ 1304580 h 5929484"/>
              <a:gd name="connsiteX8" fmla="*/ 0 w 6482568"/>
              <a:gd name="connsiteY8" fmla="*/ 946654 h 5929484"/>
              <a:gd name="connsiteX0" fmla="*/ 0 w 6482568"/>
              <a:gd name="connsiteY0" fmla="*/ 946654 h 5929484"/>
              <a:gd name="connsiteX1" fmla="*/ 10705 w 6482568"/>
              <a:gd name="connsiteY1" fmla="*/ 18118 h 5929484"/>
              <a:gd name="connsiteX2" fmla="*/ 5590402 w 6482568"/>
              <a:gd name="connsiteY2" fmla="*/ 0 h 5929484"/>
              <a:gd name="connsiteX3" fmla="*/ 6482568 w 6482568"/>
              <a:gd name="connsiteY3" fmla="*/ 5929484 h 5929484"/>
              <a:gd name="connsiteX4" fmla="*/ 18268 w 6482568"/>
              <a:gd name="connsiteY4" fmla="*/ 5929484 h 5929484"/>
              <a:gd name="connsiteX5" fmla="*/ 2696 w 6482568"/>
              <a:gd name="connsiteY5" fmla="*/ 2806519 h 5929484"/>
              <a:gd name="connsiteX6" fmla="*/ 399537 w 6482568"/>
              <a:gd name="connsiteY6" fmla="*/ 2486914 h 5929484"/>
              <a:gd name="connsiteX7" fmla="*/ 404290 w 6482568"/>
              <a:gd name="connsiteY7" fmla="*/ 1304580 h 5929484"/>
              <a:gd name="connsiteX8" fmla="*/ 0 w 6482568"/>
              <a:gd name="connsiteY8" fmla="*/ 946654 h 5929484"/>
              <a:gd name="connsiteX0" fmla="*/ 0 w 6482568"/>
              <a:gd name="connsiteY0" fmla="*/ 928536 h 5911366"/>
              <a:gd name="connsiteX1" fmla="*/ 10705 w 6482568"/>
              <a:gd name="connsiteY1" fmla="*/ 0 h 5911366"/>
              <a:gd name="connsiteX2" fmla="*/ 5590402 w 6482568"/>
              <a:gd name="connsiteY2" fmla="*/ 36301 h 5911366"/>
              <a:gd name="connsiteX3" fmla="*/ 6482568 w 6482568"/>
              <a:gd name="connsiteY3" fmla="*/ 5911366 h 5911366"/>
              <a:gd name="connsiteX4" fmla="*/ 18268 w 6482568"/>
              <a:gd name="connsiteY4" fmla="*/ 5911366 h 5911366"/>
              <a:gd name="connsiteX5" fmla="*/ 2696 w 6482568"/>
              <a:gd name="connsiteY5" fmla="*/ 2788401 h 5911366"/>
              <a:gd name="connsiteX6" fmla="*/ 399537 w 6482568"/>
              <a:gd name="connsiteY6" fmla="*/ 2468796 h 5911366"/>
              <a:gd name="connsiteX7" fmla="*/ 404290 w 6482568"/>
              <a:gd name="connsiteY7" fmla="*/ 1286462 h 5911366"/>
              <a:gd name="connsiteX8" fmla="*/ 0 w 6482568"/>
              <a:gd name="connsiteY8" fmla="*/ 928536 h 5911366"/>
              <a:gd name="connsiteX0" fmla="*/ 0 w 6482568"/>
              <a:gd name="connsiteY0" fmla="*/ 928536 h 5911366"/>
              <a:gd name="connsiteX1" fmla="*/ 10705 w 6482568"/>
              <a:gd name="connsiteY1" fmla="*/ 0 h 5911366"/>
              <a:gd name="connsiteX2" fmla="*/ 5569161 w 6482568"/>
              <a:gd name="connsiteY2" fmla="*/ 22 h 5911366"/>
              <a:gd name="connsiteX3" fmla="*/ 6482568 w 6482568"/>
              <a:gd name="connsiteY3" fmla="*/ 5911366 h 5911366"/>
              <a:gd name="connsiteX4" fmla="*/ 18268 w 6482568"/>
              <a:gd name="connsiteY4" fmla="*/ 5911366 h 5911366"/>
              <a:gd name="connsiteX5" fmla="*/ 2696 w 6482568"/>
              <a:gd name="connsiteY5" fmla="*/ 2788401 h 5911366"/>
              <a:gd name="connsiteX6" fmla="*/ 399537 w 6482568"/>
              <a:gd name="connsiteY6" fmla="*/ 2468796 h 5911366"/>
              <a:gd name="connsiteX7" fmla="*/ 404290 w 6482568"/>
              <a:gd name="connsiteY7" fmla="*/ 1286462 h 5911366"/>
              <a:gd name="connsiteX8" fmla="*/ 0 w 6482568"/>
              <a:gd name="connsiteY8" fmla="*/ 928536 h 5911366"/>
              <a:gd name="connsiteX0" fmla="*/ 0 w 5569161"/>
              <a:gd name="connsiteY0" fmla="*/ 928536 h 5911366"/>
              <a:gd name="connsiteX1" fmla="*/ 10705 w 5569161"/>
              <a:gd name="connsiteY1" fmla="*/ 0 h 5911366"/>
              <a:gd name="connsiteX2" fmla="*/ 5569161 w 5569161"/>
              <a:gd name="connsiteY2" fmla="*/ 22 h 5911366"/>
              <a:gd name="connsiteX3" fmla="*/ 5547919 w 5569161"/>
              <a:gd name="connsiteY3" fmla="*/ 5911366 h 5911366"/>
              <a:gd name="connsiteX4" fmla="*/ 18268 w 5569161"/>
              <a:gd name="connsiteY4" fmla="*/ 5911366 h 5911366"/>
              <a:gd name="connsiteX5" fmla="*/ 2696 w 5569161"/>
              <a:gd name="connsiteY5" fmla="*/ 2788401 h 5911366"/>
              <a:gd name="connsiteX6" fmla="*/ 399537 w 5569161"/>
              <a:gd name="connsiteY6" fmla="*/ 2468796 h 5911366"/>
              <a:gd name="connsiteX7" fmla="*/ 404290 w 5569161"/>
              <a:gd name="connsiteY7" fmla="*/ 1286462 h 5911366"/>
              <a:gd name="connsiteX8" fmla="*/ 0 w 5569161"/>
              <a:gd name="connsiteY8" fmla="*/ 928536 h 5911366"/>
              <a:gd name="connsiteX0" fmla="*/ 0 w 5591345"/>
              <a:gd name="connsiteY0" fmla="*/ 928536 h 5911366"/>
              <a:gd name="connsiteX1" fmla="*/ 10705 w 5591345"/>
              <a:gd name="connsiteY1" fmla="*/ 0 h 5911366"/>
              <a:gd name="connsiteX2" fmla="*/ 5569161 w 5591345"/>
              <a:gd name="connsiteY2" fmla="*/ 22 h 5911366"/>
              <a:gd name="connsiteX3" fmla="*/ 5590404 w 5591345"/>
              <a:gd name="connsiteY3" fmla="*/ 5893227 h 5911366"/>
              <a:gd name="connsiteX4" fmla="*/ 18268 w 5591345"/>
              <a:gd name="connsiteY4" fmla="*/ 5911366 h 5911366"/>
              <a:gd name="connsiteX5" fmla="*/ 2696 w 5591345"/>
              <a:gd name="connsiteY5" fmla="*/ 2788401 h 5911366"/>
              <a:gd name="connsiteX6" fmla="*/ 399537 w 5591345"/>
              <a:gd name="connsiteY6" fmla="*/ 2468796 h 5911366"/>
              <a:gd name="connsiteX7" fmla="*/ 404290 w 5591345"/>
              <a:gd name="connsiteY7" fmla="*/ 1286462 h 5911366"/>
              <a:gd name="connsiteX8" fmla="*/ 0 w 5591345"/>
              <a:gd name="connsiteY8" fmla="*/ 928536 h 5911366"/>
              <a:gd name="connsiteX0" fmla="*/ 0 w 5569161"/>
              <a:gd name="connsiteY0" fmla="*/ 928536 h 5911367"/>
              <a:gd name="connsiteX1" fmla="*/ 10705 w 5569161"/>
              <a:gd name="connsiteY1" fmla="*/ 0 h 5911367"/>
              <a:gd name="connsiteX2" fmla="*/ 5569161 w 5569161"/>
              <a:gd name="connsiteY2" fmla="*/ 22 h 5911367"/>
              <a:gd name="connsiteX3" fmla="*/ 5547920 w 5569161"/>
              <a:gd name="connsiteY3" fmla="*/ 5911367 h 5911367"/>
              <a:gd name="connsiteX4" fmla="*/ 18268 w 5569161"/>
              <a:gd name="connsiteY4" fmla="*/ 5911366 h 5911367"/>
              <a:gd name="connsiteX5" fmla="*/ 2696 w 5569161"/>
              <a:gd name="connsiteY5" fmla="*/ 2788401 h 5911367"/>
              <a:gd name="connsiteX6" fmla="*/ 399537 w 5569161"/>
              <a:gd name="connsiteY6" fmla="*/ 2468796 h 5911367"/>
              <a:gd name="connsiteX7" fmla="*/ 404290 w 5569161"/>
              <a:gd name="connsiteY7" fmla="*/ 1286462 h 5911367"/>
              <a:gd name="connsiteX8" fmla="*/ 0 w 5569161"/>
              <a:gd name="connsiteY8" fmla="*/ 928536 h 5911367"/>
              <a:gd name="connsiteX0" fmla="*/ 0 w 5569161"/>
              <a:gd name="connsiteY0" fmla="*/ 928536 h 5929507"/>
              <a:gd name="connsiteX1" fmla="*/ 10705 w 5569161"/>
              <a:gd name="connsiteY1" fmla="*/ 0 h 5929507"/>
              <a:gd name="connsiteX2" fmla="*/ 5569161 w 5569161"/>
              <a:gd name="connsiteY2" fmla="*/ 22 h 5929507"/>
              <a:gd name="connsiteX3" fmla="*/ 5547920 w 5569161"/>
              <a:gd name="connsiteY3" fmla="*/ 5929507 h 5929507"/>
              <a:gd name="connsiteX4" fmla="*/ 18268 w 5569161"/>
              <a:gd name="connsiteY4" fmla="*/ 5911366 h 5929507"/>
              <a:gd name="connsiteX5" fmla="*/ 2696 w 5569161"/>
              <a:gd name="connsiteY5" fmla="*/ 2788401 h 5929507"/>
              <a:gd name="connsiteX6" fmla="*/ 399537 w 5569161"/>
              <a:gd name="connsiteY6" fmla="*/ 2468796 h 5929507"/>
              <a:gd name="connsiteX7" fmla="*/ 404290 w 5569161"/>
              <a:gd name="connsiteY7" fmla="*/ 1286462 h 5929507"/>
              <a:gd name="connsiteX8" fmla="*/ 0 w 5569161"/>
              <a:gd name="connsiteY8" fmla="*/ 928536 h 5929507"/>
              <a:gd name="connsiteX0" fmla="*/ 0 w 5591345"/>
              <a:gd name="connsiteY0" fmla="*/ 928536 h 5911367"/>
              <a:gd name="connsiteX1" fmla="*/ 10705 w 5591345"/>
              <a:gd name="connsiteY1" fmla="*/ 0 h 5911367"/>
              <a:gd name="connsiteX2" fmla="*/ 5569161 w 5591345"/>
              <a:gd name="connsiteY2" fmla="*/ 22 h 5911367"/>
              <a:gd name="connsiteX3" fmla="*/ 5590404 w 5591345"/>
              <a:gd name="connsiteY3" fmla="*/ 5893227 h 5911367"/>
              <a:gd name="connsiteX4" fmla="*/ 18268 w 5591345"/>
              <a:gd name="connsiteY4" fmla="*/ 5911366 h 5911367"/>
              <a:gd name="connsiteX5" fmla="*/ 2696 w 5591345"/>
              <a:gd name="connsiteY5" fmla="*/ 2788401 h 5911367"/>
              <a:gd name="connsiteX6" fmla="*/ 399537 w 5591345"/>
              <a:gd name="connsiteY6" fmla="*/ 2468796 h 5911367"/>
              <a:gd name="connsiteX7" fmla="*/ 404290 w 5591345"/>
              <a:gd name="connsiteY7" fmla="*/ 1286462 h 5911367"/>
              <a:gd name="connsiteX8" fmla="*/ 0 w 5591345"/>
              <a:gd name="connsiteY8" fmla="*/ 928536 h 5911367"/>
              <a:gd name="connsiteX0" fmla="*/ 0 w 5612259"/>
              <a:gd name="connsiteY0" fmla="*/ 928536 h 5929507"/>
              <a:gd name="connsiteX1" fmla="*/ 10705 w 5612259"/>
              <a:gd name="connsiteY1" fmla="*/ 0 h 5929507"/>
              <a:gd name="connsiteX2" fmla="*/ 5569161 w 5612259"/>
              <a:gd name="connsiteY2" fmla="*/ 22 h 5929507"/>
              <a:gd name="connsiteX3" fmla="*/ 5611645 w 5612259"/>
              <a:gd name="connsiteY3" fmla="*/ 5929507 h 5929507"/>
              <a:gd name="connsiteX4" fmla="*/ 18268 w 5612259"/>
              <a:gd name="connsiteY4" fmla="*/ 5911366 h 5929507"/>
              <a:gd name="connsiteX5" fmla="*/ 2696 w 5612259"/>
              <a:gd name="connsiteY5" fmla="*/ 2788401 h 5929507"/>
              <a:gd name="connsiteX6" fmla="*/ 399537 w 5612259"/>
              <a:gd name="connsiteY6" fmla="*/ 2468796 h 5929507"/>
              <a:gd name="connsiteX7" fmla="*/ 404290 w 5612259"/>
              <a:gd name="connsiteY7" fmla="*/ 1286462 h 5929507"/>
              <a:gd name="connsiteX8" fmla="*/ 0 w 5612259"/>
              <a:gd name="connsiteY8" fmla="*/ 928536 h 5929507"/>
              <a:gd name="connsiteX0" fmla="*/ 0 w 5571205"/>
              <a:gd name="connsiteY0" fmla="*/ 928536 h 5911367"/>
              <a:gd name="connsiteX1" fmla="*/ 10705 w 5571205"/>
              <a:gd name="connsiteY1" fmla="*/ 0 h 5911367"/>
              <a:gd name="connsiteX2" fmla="*/ 5569161 w 5571205"/>
              <a:gd name="connsiteY2" fmla="*/ 22 h 5911367"/>
              <a:gd name="connsiteX3" fmla="*/ 5569161 w 5571205"/>
              <a:gd name="connsiteY3" fmla="*/ 5911367 h 5911367"/>
              <a:gd name="connsiteX4" fmla="*/ 18268 w 5571205"/>
              <a:gd name="connsiteY4" fmla="*/ 5911366 h 5911367"/>
              <a:gd name="connsiteX5" fmla="*/ 2696 w 5571205"/>
              <a:gd name="connsiteY5" fmla="*/ 2788401 h 5911367"/>
              <a:gd name="connsiteX6" fmla="*/ 399537 w 5571205"/>
              <a:gd name="connsiteY6" fmla="*/ 2468796 h 5911367"/>
              <a:gd name="connsiteX7" fmla="*/ 404290 w 5571205"/>
              <a:gd name="connsiteY7" fmla="*/ 1286462 h 5911367"/>
              <a:gd name="connsiteX8" fmla="*/ 0 w 5571205"/>
              <a:gd name="connsiteY8" fmla="*/ 928536 h 5911367"/>
              <a:gd name="connsiteX0" fmla="*/ 0 w 5612259"/>
              <a:gd name="connsiteY0" fmla="*/ 928536 h 5929507"/>
              <a:gd name="connsiteX1" fmla="*/ 10705 w 5612259"/>
              <a:gd name="connsiteY1" fmla="*/ 0 h 5929507"/>
              <a:gd name="connsiteX2" fmla="*/ 5569161 w 5612259"/>
              <a:gd name="connsiteY2" fmla="*/ 22 h 5929507"/>
              <a:gd name="connsiteX3" fmla="*/ 5611645 w 5612259"/>
              <a:gd name="connsiteY3" fmla="*/ 5929507 h 5929507"/>
              <a:gd name="connsiteX4" fmla="*/ 18268 w 5612259"/>
              <a:gd name="connsiteY4" fmla="*/ 5911366 h 5929507"/>
              <a:gd name="connsiteX5" fmla="*/ 2696 w 5612259"/>
              <a:gd name="connsiteY5" fmla="*/ 2788401 h 5929507"/>
              <a:gd name="connsiteX6" fmla="*/ 399537 w 5612259"/>
              <a:gd name="connsiteY6" fmla="*/ 2468796 h 5929507"/>
              <a:gd name="connsiteX7" fmla="*/ 404290 w 5612259"/>
              <a:gd name="connsiteY7" fmla="*/ 1286462 h 5929507"/>
              <a:gd name="connsiteX8" fmla="*/ 0 w 5612259"/>
              <a:gd name="connsiteY8" fmla="*/ 928536 h 5929507"/>
              <a:gd name="connsiteX0" fmla="*/ 0 w 5612259"/>
              <a:gd name="connsiteY0" fmla="*/ 928536 h 5911368"/>
              <a:gd name="connsiteX1" fmla="*/ 10705 w 5612259"/>
              <a:gd name="connsiteY1" fmla="*/ 0 h 5911368"/>
              <a:gd name="connsiteX2" fmla="*/ 5569161 w 5612259"/>
              <a:gd name="connsiteY2" fmla="*/ 22 h 5911368"/>
              <a:gd name="connsiteX3" fmla="*/ 5611645 w 5612259"/>
              <a:gd name="connsiteY3" fmla="*/ 5911368 h 5911368"/>
              <a:gd name="connsiteX4" fmla="*/ 18268 w 5612259"/>
              <a:gd name="connsiteY4" fmla="*/ 5911366 h 5911368"/>
              <a:gd name="connsiteX5" fmla="*/ 2696 w 5612259"/>
              <a:gd name="connsiteY5" fmla="*/ 2788401 h 5911368"/>
              <a:gd name="connsiteX6" fmla="*/ 399537 w 5612259"/>
              <a:gd name="connsiteY6" fmla="*/ 2468796 h 5911368"/>
              <a:gd name="connsiteX7" fmla="*/ 404290 w 5612259"/>
              <a:gd name="connsiteY7" fmla="*/ 1286462 h 5911368"/>
              <a:gd name="connsiteX8" fmla="*/ 0 w 5612259"/>
              <a:gd name="connsiteY8" fmla="*/ 928536 h 5911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12259" h="5911368">
                <a:moveTo>
                  <a:pt x="0" y="928536"/>
                </a:moveTo>
                <a:cubicBezTo>
                  <a:pt x="756" y="614643"/>
                  <a:pt x="9949" y="313893"/>
                  <a:pt x="10705" y="0"/>
                </a:cubicBezTo>
                <a:lnTo>
                  <a:pt x="5569161" y="22"/>
                </a:lnTo>
                <a:cubicBezTo>
                  <a:pt x="5562080" y="1970470"/>
                  <a:pt x="5618726" y="3940920"/>
                  <a:pt x="5611645" y="5911368"/>
                </a:cubicBezTo>
                <a:lnTo>
                  <a:pt x="18268" y="5911366"/>
                </a:lnTo>
                <a:cubicBezTo>
                  <a:pt x="12656" y="4865874"/>
                  <a:pt x="845" y="2793419"/>
                  <a:pt x="2696" y="2788401"/>
                </a:cubicBezTo>
                <a:cubicBezTo>
                  <a:pt x="2892" y="2785723"/>
                  <a:pt x="406663" y="2480660"/>
                  <a:pt x="399537" y="2468796"/>
                </a:cubicBezTo>
                <a:cubicBezTo>
                  <a:pt x="397765" y="2358040"/>
                  <a:pt x="402874" y="1563745"/>
                  <a:pt x="404290" y="1286462"/>
                </a:cubicBezTo>
                <a:cubicBezTo>
                  <a:pt x="85813" y="1021845"/>
                  <a:pt x="310392" y="1207524"/>
                  <a:pt x="0" y="928536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/>
          <a:lstStyle>
            <a:lvl1pPr marL="0" indent="0" algn="ctr">
              <a:buNone/>
              <a:defRPr sz="20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sp>
        <p:nvSpPr>
          <p:cNvPr id="9" name="Текст 15"/>
          <p:cNvSpPr>
            <a:spLocks noGrp="1"/>
          </p:cNvSpPr>
          <p:nvPr>
            <p:ph type="body" sz="quarter" idx="12" hasCustomPrompt="1"/>
          </p:nvPr>
        </p:nvSpPr>
        <p:spPr>
          <a:xfrm>
            <a:off x="524984" y="489472"/>
            <a:ext cx="4468813" cy="3360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spc="-150" baseline="0">
                <a:solidFill>
                  <a:srgbClr val="80BC00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dirty="0"/>
              <a:t>Содержание</a:t>
            </a:r>
          </a:p>
        </p:txBody>
      </p:sp>
      <p:sp>
        <p:nvSpPr>
          <p:cNvPr id="10" name="Текст 18"/>
          <p:cNvSpPr>
            <a:spLocks noGrp="1"/>
          </p:cNvSpPr>
          <p:nvPr>
            <p:ph type="body" sz="quarter" idx="13" hasCustomPrompt="1"/>
          </p:nvPr>
        </p:nvSpPr>
        <p:spPr>
          <a:xfrm>
            <a:off x="524985" y="1725574"/>
            <a:ext cx="997110" cy="569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spc="-150" baseline="0">
                <a:solidFill>
                  <a:srgbClr val="80BC00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ru-RU" dirty="0"/>
          </a:p>
        </p:txBody>
      </p:sp>
      <p:sp>
        <p:nvSpPr>
          <p:cNvPr id="12" name="Текст 22"/>
          <p:cNvSpPr>
            <a:spLocks noGrp="1"/>
          </p:cNvSpPr>
          <p:nvPr>
            <p:ph type="body" sz="quarter" idx="15" hasCustomPrompt="1"/>
          </p:nvPr>
        </p:nvSpPr>
        <p:spPr>
          <a:xfrm>
            <a:off x="1522095" y="2371408"/>
            <a:ext cx="5100129" cy="16628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/>
            </a:lvl1pPr>
          </a:lstStyle>
          <a:p>
            <a:pPr lvl="0"/>
            <a:r>
              <a:rPr lang="ru-RU" dirty="0"/>
              <a:t>Пример </a:t>
            </a:r>
            <a:r>
              <a:rPr lang="ru-RU"/>
              <a:t>подзаголовка слайда презентации</a:t>
            </a:r>
            <a:endParaRPr lang="ru-RU" dirty="0"/>
          </a:p>
        </p:txBody>
      </p:sp>
      <p:sp>
        <p:nvSpPr>
          <p:cNvPr id="13" name="Текст 24"/>
          <p:cNvSpPr>
            <a:spLocks noGrp="1"/>
          </p:cNvSpPr>
          <p:nvPr>
            <p:ph type="body" sz="quarter" idx="16" hasCustomPrompt="1"/>
          </p:nvPr>
        </p:nvSpPr>
        <p:spPr>
          <a:xfrm>
            <a:off x="7008176" y="2359026"/>
            <a:ext cx="968375" cy="16752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rgbClr val="80BC00"/>
                </a:solidFill>
              </a:defRPr>
            </a:lvl1pPr>
          </a:lstStyle>
          <a:p>
            <a:pPr lvl="0"/>
            <a:r>
              <a:rPr lang="ru-RU"/>
              <a:t>00</a:t>
            </a:r>
            <a:endParaRPr lang="ru-RU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pic>
        <p:nvPicPr>
          <p:cNvPr id="20" name="Рисунок 27">
            <a:extLst>
              <a:ext uri="{FF2B5EF4-FFF2-40B4-BE49-F238E27FC236}">
                <a16:creationId xmlns:a16="http://schemas.microsoft.com/office/drawing/2014/main" id="{35C6CE68-A3B4-5642-927D-BCFA0FFC343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F35FF0F-1E1C-7D4B-A920-F74A7B43E5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2095" y="1800726"/>
            <a:ext cx="6454456" cy="44577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420"/>
              </a:lnSpc>
              <a:buNone/>
              <a:defRPr sz="36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ПРИМЕР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371837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363" y="1461887"/>
            <a:ext cx="3455179" cy="345517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16403" y="899123"/>
            <a:ext cx="2663172" cy="5971577"/>
          </a:xfrm>
          <a:prstGeom prst="rect">
            <a:avLst/>
          </a:prstGeom>
        </p:spPr>
      </p:pic>
      <p:sp>
        <p:nvSpPr>
          <p:cNvPr id="9" name="Текст 28"/>
          <p:cNvSpPr>
            <a:spLocks noGrp="1"/>
          </p:cNvSpPr>
          <p:nvPr>
            <p:ph type="body" sz="quarter" idx="10" hasCustomPrompt="1"/>
          </p:nvPr>
        </p:nvSpPr>
        <p:spPr>
          <a:xfrm>
            <a:off x="507208" y="1410186"/>
            <a:ext cx="5461792" cy="35068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880"/>
              </a:lnSpc>
              <a:spcBef>
                <a:spcPts val="0"/>
              </a:spcBef>
              <a:buNone/>
              <a:defRPr sz="3200" spc="-150" baseline="0"/>
            </a:lvl1pPr>
          </a:lstStyle>
          <a:p>
            <a:pPr lvl="0"/>
            <a:r>
              <a:rPr lang="ru-RU" dirty="0"/>
              <a:t>Обращение</a:t>
            </a:r>
          </a:p>
        </p:txBody>
      </p:sp>
      <p:pic>
        <p:nvPicPr>
          <p:cNvPr id="8" name="Рисунок 27">
            <a:extLst>
              <a:ext uri="{FF2B5EF4-FFF2-40B4-BE49-F238E27FC236}">
                <a16:creationId xmlns:a16="http://schemas.microsoft.com/office/drawing/2014/main" id="{12792FF6-5229-F040-8F0F-5A2AF40D0A3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518444" y="5834587"/>
            <a:ext cx="1995565" cy="552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8787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o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6900" y="366960"/>
            <a:ext cx="6032945" cy="6010997"/>
          </a:xfrm>
          <a:prstGeom prst="rect">
            <a:avLst/>
          </a:prstGeom>
        </p:spPr>
      </p:pic>
      <p:grpSp>
        <p:nvGrpSpPr>
          <p:cNvPr id="4" name="Группа 3"/>
          <p:cNvGrpSpPr/>
          <p:nvPr userDrawn="1"/>
        </p:nvGrpSpPr>
        <p:grpSpPr>
          <a:xfrm>
            <a:off x="9057" y="0"/>
            <a:ext cx="12182943" cy="6856521"/>
            <a:chOff x="9057" y="0"/>
            <a:chExt cx="12182943" cy="6856521"/>
          </a:xfrm>
          <a:solidFill>
            <a:schemeClr val="bg1"/>
          </a:solidFill>
        </p:grpSpPr>
        <p:sp>
          <p:nvSpPr>
            <p:cNvPr id="5" name="Прямоугольник 7"/>
            <p:cNvSpPr/>
            <p:nvPr/>
          </p:nvSpPr>
          <p:spPr>
            <a:xfrm>
              <a:off x="9057" y="1478"/>
              <a:ext cx="6098107" cy="6855043"/>
            </a:xfrm>
            <a:custGeom>
              <a:avLst/>
              <a:gdLst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7858 w 5717858"/>
                <a:gd name="connsiteY2" fmla="*/ 6855043 h 6855043"/>
                <a:gd name="connsiteX3" fmla="*/ 0 w 5717858"/>
                <a:gd name="connsiteY3" fmla="*/ 6855043 h 6855043"/>
                <a:gd name="connsiteX4" fmla="*/ 0 w 5717858"/>
                <a:gd name="connsiteY4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7858 w 5717858"/>
                <a:gd name="connsiteY3" fmla="*/ 6855043 h 6855043"/>
                <a:gd name="connsiteX4" fmla="*/ 0 w 5717858"/>
                <a:gd name="connsiteY4" fmla="*/ 6855043 h 6855043"/>
                <a:gd name="connsiteX5" fmla="*/ 0 w 5717858"/>
                <a:gd name="connsiteY5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7858 w 5717858"/>
                <a:gd name="connsiteY4" fmla="*/ 6855043 h 6855043"/>
                <a:gd name="connsiteX5" fmla="*/ 0 w 5717858"/>
                <a:gd name="connsiteY5" fmla="*/ 6855043 h 6855043"/>
                <a:gd name="connsiteX6" fmla="*/ 0 w 5717858"/>
                <a:gd name="connsiteY6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3067 w 5717858"/>
                <a:gd name="connsiteY4" fmla="*/ 3352181 h 6855043"/>
                <a:gd name="connsiteX5" fmla="*/ 5717858 w 5717858"/>
                <a:gd name="connsiteY5" fmla="*/ 6855043 h 6855043"/>
                <a:gd name="connsiteX6" fmla="*/ 0 w 5717858"/>
                <a:gd name="connsiteY6" fmla="*/ 6855043 h 6855043"/>
                <a:gd name="connsiteX7" fmla="*/ 0 w 5717858"/>
                <a:gd name="connsiteY7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53070"/>
                <a:gd name="connsiteY0" fmla="*/ 0 h 6855043"/>
                <a:gd name="connsiteX1" fmla="*/ 5717858 w 6053070"/>
                <a:gd name="connsiteY1" fmla="*/ 0 h 6855043"/>
                <a:gd name="connsiteX2" fmla="*/ 5714999 w 6053070"/>
                <a:gd name="connsiteY2" fmla="*/ 1391289 h 6855043"/>
                <a:gd name="connsiteX3" fmla="*/ 6053070 w 6053070"/>
                <a:gd name="connsiteY3" fmla="*/ 1971567 h 6855043"/>
                <a:gd name="connsiteX4" fmla="*/ 5710491 w 6053070"/>
                <a:gd name="connsiteY4" fmla="*/ 3027633 h 6855043"/>
                <a:gd name="connsiteX5" fmla="*/ 5713067 w 6053070"/>
                <a:gd name="connsiteY5" fmla="*/ 3352181 h 6855043"/>
                <a:gd name="connsiteX6" fmla="*/ 5717858 w 6053070"/>
                <a:gd name="connsiteY6" fmla="*/ 6855043 h 6855043"/>
                <a:gd name="connsiteX7" fmla="*/ 0 w 6053070"/>
                <a:gd name="connsiteY7" fmla="*/ 6855043 h 6855043"/>
                <a:gd name="connsiteX8" fmla="*/ 0 w 6053070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710491 w 6107161"/>
                <a:gd name="connsiteY4" fmla="*/ 3027633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2069"/>
                <a:gd name="connsiteY0" fmla="*/ 0 h 6855043"/>
                <a:gd name="connsiteX1" fmla="*/ 5717858 w 6112069"/>
                <a:gd name="connsiteY1" fmla="*/ 0 h 6855043"/>
                <a:gd name="connsiteX2" fmla="*/ 5714999 w 6112069"/>
                <a:gd name="connsiteY2" fmla="*/ 1391289 h 6855043"/>
                <a:gd name="connsiteX3" fmla="*/ 6107161 w 6112069"/>
                <a:gd name="connsiteY3" fmla="*/ 1773233 h 6855043"/>
                <a:gd name="connsiteX4" fmla="*/ 5906250 w 6112069"/>
                <a:gd name="connsiteY4" fmla="*/ 2914299 h 6855043"/>
                <a:gd name="connsiteX5" fmla="*/ 5713067 w 6112069"/>
                <a:gd name="connsiteY5" fmla="*/ 3352181 h 6855043"/>
                <a:gd name="connsiteX6" fmla="*/ 5717858 w 6112069"/>
                <a:gd name="connsiteY6" fmla="*/ 6855043 h 6855043"/>
                <a:gd name="connsiteX7" fmla="*/ 0 w 6112069"/>
                <a:gd name="connsiteY7" fmla="*/ 6855043 h 6855043"/>
                <a:gd name="connsiteX8" fmla="*/ 0 w 611206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0968"/>
                <a:gd name="connsiteY0" fmla="*/ 0 h 6855043"/>
                <a:gd name="connsiteX1" fmla="*/ 5717858 w 6110968"/>
                <a:gd name="connsiteY1" fmla="*/ 0 h 6855043"/>
                <a:gd name="connsiteX2" fmla="*/ 5714999 w 6110968"/>
                <a:gd name="connsiteY2" fmla="*/ 1391289 h 6855043"/>
                <a:gd name="connsiteX3" fmla="*/ 6034733 w 6110968"/>
                <a:gd name="connsiteY3" fmla="*/ 1812464 h 6855043"/>
                <a:gd name="connsiteX4" fmla="*/ 6096858 w 6110968"/>
                <a:gd name="connsiteY4" fmla="*/ 2970966 h 6855043"/>
                <a:gd name="connsiteX5" fmla="*/ 5713067 w 6110968"/>
                <a:gd name="connsiteY5" fmla="*/ 3352181 h 6855043"/>
                <a:gd name="connsiteX6" fmla="*/ 5717858 w 6110968"/>
                <a:gd name="connsiteY6" fmla="*/ 6855043 h 6855043"/>
                <a:gd name="connsiteX7" fmla="*/ 0 w 6110968"/>
                <a:gd name="connsiteY7" fmla="*/ 6855043 h 6855043"/>
                <a:gd name="connsiteX8" fmla="*/ 0 w 6110968"/>
                <a:gd name="connsiteY8" fmla="*/ 0 h 6855043"/>
                <a:gd name="connsiteX0" fmla="*/ 0 w 6125537"/>
                <a:gd name="connsiteY0" fmla="*/ 0 h 6855043"/>
                <a:gd name="connsiteX1" fmla="*/ 5717858 w 6125537"/>
                <a:gd name="connsiteY1" fmla="*/ 0 h 6855043"/>
                <a:gd name="connsiteX2" fmla="*/ 5714999 w 6125537"/>
                <a:gd name="connsiteY2" fmla="*/ 1391289 h 6855043"/>
                <a:gd name="connsiteX3" fmla="*/ 6098107 w 6125537"/>
                <a:gd name="connsiteY3" fmla="*/ 1770215 h 6855043"/>
                <a:gd name="connsiteX4" fmla="*/ 6096858 w 6125537"/>
                <a:gd name="connsiteY4" fmla="*/ 2970966 h 6855043"/>
                <a:gd name="connsiteX5" fmla="*/ 5713067 w 6125537"/>
                <a:gd name="connsiteY5" fmla="*/ 3352181 h 6855043"/>
                <a:gd name="connsiteX6" fmla="*/ 5717858 w 6125537"/>
                <a:gd name="connsiteY6" fmla="*/ 6855043 h 6855043"/>
                <a:gd name="connsiteX7" fmla="*/ 0 w 6125537"/>
                <a:gd name="connsiteY7" fmla="*/ 6855043 h 6855043"/>
                <a:gd name="connsiteX8" fmla="*/ 0 w 612553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5936913 w 6098107"/>
                <a:gd name="connsiteY4" fmla="*/ 2983038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119069"/>
                <a:gd name="connsiteY0" fmla="*/ 0 h 6855043"/>
                <a:gd name="connsiteX1" fmla="*/ 5717858 w 6119069"/>
                <a:gd name="connsiteY1" fmla="*/ 0 h 6855043"/>
                <a:gd name="connsiteX2" fmla="*/ 5714999 w 6119069"/>
                <a:gd name="connsiteY2" fmla="*/ 1391289 h 6855043"/>
                <a:gd name="connsiteX3" fmla="*/ 6098107 w 6119069"/>
                <a:gd name="connsiteY3" fmla="*/ 1770215 h 6855043"/>
                <a:gd name="connsiteX4" fmla="*/ 6087804 w 6119069"/>
                <a:gd name="connsiteY4" fmla="*/ 2964931 h 6855043"/>
                <a:gd name="connsiteX5" fmla="*/ 5713067 w 6119069"/>
                <a:gd name="connsiteY5" fmla="*/ 3352181 h 6855043"/>
                <a:gd name="connsiteX6" fmla="*/ 5717858 w 6119069"/>
                <a:gd name="connsiteY6" fmla="*/ 6855043 h 6855043"/>
                <a:gd name="connsiteX7" fmla="*/ 0 w 6119069"/>
                <a:gd name="connsiteY7" fmla="*/ 6855043 h 6855043"/>
                <a:gd name="connsiteX8" fmla="*/ 0 w 6119069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73985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98107" h="6855043">
                  <a:moveTo>
                    <a:pt x="0" y="0"/>
                  </a:moveTo>
                  <a:lnTo>
                    <a:pt x="5717858" y="0"/>
                  </a:lnTo>
                  <a:lnTo>
                    <a:pt x="5714999" y="1391289"/>
                  </a:lnTo>
                  <a:lnTo>
                    <a:pt x="6098107" y="1770215"/>
                  </a:lnTo>
                  <a:cubicBezTo>
                    <a:pt x="6097356" y="2042939"/>
                    <a:pt x="6094320" y="2706021"/>
                    <a:pt x="6087804" y="2973985"/>
                  </a:cubicBezTo>
                  <a:cubicBezTo>
                    <a:pt x="6087512" y="2985992"/>
                    <a:pt x="5904491" y="3165556"/>
                    <a:pt x="5713067" y="3352181"/>
                  </a:cubicBezTo>
                  <a:cubicBezTo>
                    <a:pt x="5711481" y="3806821"/>
                    <a:pt x="5716261" y="5687422"/>
                    <a:pt x="5717858" y="6855043"/>
                  </a:cubicBezTo>
                  <a:lnTo>
                    <a:pt x="0" y="68550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Arial" panose="020B0604020202020204" pitchFamily="34" charset="0"/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4939469" y="0"/>
              <a:ext cx="7252531" cy="478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4939469" y="6377957"/>
              <a:ext cx="7252531" cy="478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8" name="Прямая соединительная линия 7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28"/>
          <p:cNvSpPr>
            <a:spLocks noGrp="1"/>
          </p:cNvSpPr>
          <p:nvPr>
            <p:ph type="body" sz="quarter" idx="10" hasCustomPrompt="1"/>
          </p:nvPr>
        </p:nvSpPr>
        <p:spPr>
          <a:xfrm>
            <a:off x="507208" y="1092685"/>
            <a:ext cx="4919158" cy="22648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880"/>
              </a:lnSpc>
              <a:spcBef>
                <a:spcPts val="0"/>
              </a:spcBef>
              <a:buNone/>
              <a:defRPr sz="3200" spc="-150" baseline="0"/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531813" y="3619501"/>
            <a:ext cx="4894262" cy="27584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/>
            </a:lvl1pPr>
          </a:lstStyle>
          <a:p>
            <a:pPr lvl="0"/>
            <a:r>
              <a:rPr lang="ru-RU"/>
              <a:t>Текст-цитата не более семи строк</a:t>
            </a:r>
          </a:p>
        </p:txBody>
      </p:sp>
    </p:spTree>
    <p:extLst>
      <p:ext uri="{BB962C8B-B14F-4D97-AF65-F5344CB8AC3E}">
        <p14:creationId xmlns:p14="http://schemas.microsoft.com/office/powerpoint/2010/main" val="5882940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31259" y="266585"/>
            <a:ext cx="7873441" cy="6134521"/>
          </a:xfrm>
          <a:prstGeom prst="rect">
            <a:avLst/>
          </a:prstGeom>
        </p:spPr>
      </p:pic>
      <p:grpSp>
        <p:nvGrpSpPr>
          <p:cNvPr id="4" name="Группа 3"/>
          <p:cNvGrpSpPr/>
          <p:nvPr userDrawn="1"/>
        </p:nvGrpSpPr>
        <p:grpSpPr>
          <a:xfrm>
            <a:off x="9057" y="0"/>
            <a:ext cx="12182943" cy="6879671"/>
            <a:chOff x="9057" y="0"/>
            <a:chExt cx="12182943" cy="6879671"/>
          </a:xfrm>
          <a:solidFill>
            <a:schemeClr val="bg1"/>
          </a:solidFill>
        </p:grpSpPr>
        <p:sp>
          <p:nvSpPr>
            <p:cNvPr id="5" name="Прямоугольник 7"/>
            <p:cNvSpPr/>
            <p:nvPr/>
          </p:nvSpPr>
          <p:spPr>
            <a:xfrm>
              <a:off x="9057" y="1478"/>
              <a:ext cx="6098107" cy="6855043"/>
            </a:xfrm>
            <a:custGeom>
              <a:avLst/>
              <a:gdLst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7858 w 5717858"/>
                <a:gd name="connsiteY2" fmla="*/ 6855043 h 6855043"/>
                <a:gd name="connsiteX3" fmla="*/ 0 w 5717858"/>
                <a:gd name="connsiteY3" fmla="*/ 6855043 h 6855043"/>
                <a:gd name="connsiteX4" fmla="*/ 0 w 5717858"/>
                <a:gd name="connsiteY4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7858 w 5717858"/>
                <a:gd name="connsiteY3" fmla="*/ 6855043 h 6855043"/>
                <a:gd name="connsiteX4" fmla="*/ 0 w 5717858"/>
                <a:gd name="connsiteY4" fmla="*/ 6855043 h 6855043"/>
                <a:gd name="connsiteX5" fmla="*/ 0 w 5717858"/>
                <a:gd name="connsiteY5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7858 w 5717858"/>
                <a:gd name="connsiteY4" fmla="*/ 6855043 h 6855043"/>
                <a:gd name="connsiteX5" fmla="*/ 0 w 5717858"/>
                <a:gd name="connsiteY5" fmla="*/ 6855043 h 6855043"/>
                <a:gd name="connsiteX6" fmla="*/ 0 w 5717858"/>
                <a:gd name="connsiteY6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3067 w 5717858"/>
                <a:gd name="connsiteY4" fmla="*/ 3352181 h 6855043"/>
                <a:gd name="connsiteX5" fmla="*/ 5717858 w 5717858"/>
                <a:gd name="connsiteY5" fmla="*/ 6855043 h 6855043"/>
                <a:gd name="connsiteX6" fmla="*/ 0 w 5717858"/>
                <a:gd name="connsiteY6" fmla="*/ 6855043 h 6855043"/>
                <a:gd name="connsiteX7" fmla="*/ 0 w 5717858"/>
                <a:gd name="connsiteY7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53070"/>
                <a:gd name="connsiteY0" fmla="*/ 0 h 6855043"/>
                <a:gd name="connsiteX1" fmla="*/ 5717858 w 6053070"/>
                <a:gd name="connsiteY1" fmla="*/ 0 h 6855043"/>
                <a:gd name="connsiteX2" fmla="*/ 5714999 w 6053070"/>
                <a:gd name="connsiteY2" fmla="*/ 1391289 h 6855043"/>
                <a:gd name="connsiteX3" fmla="*/ 6053070 w 6053070"/>
                <a:gd name="connsiteY3" fmla="*/ 1971567 h 6855043"/>
                <a:gd name="connsiteX4" fmla="*/ 5710491 w 6053070"/>
                <a:gd name="connsiteY4" fmla="*/ 3027633 h 6855043"/>
                <a:gd name="connsiteX5" fmla="*/ 5713067 w 6053070"/>
                <a:gd name="connsiteY5" fmla="*/ 3352181 h 6855043"/>
                <a:gd name="connsiteX6" fmla="*/ 5717858 w 6053070"/>
                <a:gd name="connsiteY6" fmla="*/ 6855043 h 6855043"/>
                <a:gd name="connsiteX7" fmla="*/ 0 w 6053070"/>
                <a:gd name="connsiteY7" fmla="*/ 6855043 h 6855043"/>
                <a:gd name="connsiteX8" fmla="*/ 0 w 6053070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710491 w 6107161"/>
                <a:gd name="connsiteY4" fmla="*/ 3027633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2069"/>
                <a:gd name="connsiteY0" fmla="*/ 0 h 6855043"/>
                <a:gd name="connsiteX1" fmla="*/ 5717858 w 6112069"/>
                <a:gd name="connsiteY1" fmla="*/ 0 h 6855043"/>
                <a:gd name="connsiteX2" fmla="*/ 5714999 w 6112069"/>
                <a:gd name="connsiteY2" fmla="*/ 1391289 h 6855043"/>
                <a:gd name="connsiteX3" fmla="*/ 6107161 w 6112069"/>
                <a:gd name="connsiteY3" fmla="*/ 1773233 h 6855043"/>
                <a:gd name="connsiteX4" fmla="*/ 5906250 w 6112069"/>
                <a:gd name="connsiteY4" fmla="*/ 2914299 h 6855043"/>
                <a:gd name="connsiteX5" fmla="*/ 5713067 w 6112069"/>
                <a:gd name="connsiteY5" fmla="*/ 3352181 h 6855043"/>
                <a:gd name="connsiteX6" fmla="*/ 5717858 w 6112069"/>
                <a:gd name="connsiteY6" fmla="*/ 6855043 h 6855043"/>
                <a:gd name="connsiteX7" fmla="*/ 0 w 6112069"/>
                <a:gd name="connsiteY7" fmla="*/ 6855043 h 6855043"/>
                <a:gd name="connsiteX8" fmla="*/ 0 w 611206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0968"/>
                <a:gd name="connsiteY0" fmla="*/ 0 h 6855043"/>
                <a:gd name="connsiteX1" fmla="*/ 5717858 w 6110968"/>
                <a:gd name="connsiteY1" fmla="*/ 0 h 6855043"/>
                <a:gd name="connsiteX2" fmla="*/ 5714999 w 6110968"/>
                <a:gd name="connsiteY2" fmla="*/ 1391289 h 6855043"/>
                <a:gd name="connsiteX3" fmla="*/ 6034733 w 6110968"/>
                <a:gd name="connsiteY3" fmla="*/ 1812464 h 6855043"/>
                <a:gd name="connsiteX4" fmla="*/ 6096858 w 6110968"/>
                <a:gd name="connsiteY4" fmla="*/ 2970966 h 6855043"/>
                <a:gd name="connsiteX5" fmla="*/ 5713067 w 6110968"/>
                <a:gd name="connsiteY5" fmla="*/ 3352181 h 6855043"/>
                <a:gd name="connsiteX6" fmla="*/ 5717858 w 6110968"/>
                <a:gd name="connsiteY6" fmla="*/ 6855043 h 6855043"/>
                <a:gd name="connsiteX7" fmla="*/ 0 w 6110968"/>
                <a:gd name="connsiteY7" fmla="*/ 6855043 h 6855043"/>
                <a:gd name="connsiteX8" fmla="*/ 0 w 6110968"/>
                <a:gd name="connsiteY8" fmla="*/ 0 h 6855043"/>
                <a:gd name="connsiteX0" fmla="*/ 0 w 6125537"/>
                <a:gd name="connsiteY0" fmla="*/ 0 h 6855043"/>
                <a:gd name="connsiteX1" fmla="*/ 5717858 w 6125537"/>
                <a:gd name="connsiteY1" fmla="*/ 0 h 6855043"/>
                <a:gd name="connsiteX2" fmla="*/ 5714999 w 6125537"/>
                <a:gd name="connsiteY2" fmla="*/ 1391289 h 6855043"/>
                <a:gd name="connsiteX3" fmla="*/ 6098107 w 6125537"/>
                <a:gd name="connsiteY3" fmla="*/ 1770215 h 6855043"/>
                <a:gd name="connsiteX4" fmla="*/ 6096858 w 6125537"/>
                <a:gd name="connsiteY4" fmla="*/ 2970966 h 6855043"/>
                <a:gd name="connsiteX5" fmla="*/ 5713067 w 6125537"/>
                <a:gd name="connsiteY5" fmla="*/ 3352181 h 6855043"/>
                <a:gd name="connsiteX6" fmla="*/ 5717858 w 6125537"/>
                <a:gd name="connsiteY6" fmla="*/ 6855043 h 6855043"/>
                <a:gd name="connsiteX7" fmla="*/ 0 w 6125537"/>
                <a:gd name="connsiteY7" fmla="*/ 6855043 h 6855043"/>
                <a:gd name="connsiteX8" fmla="*/ 0 w 612553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5936913 w 6098107"/>
                <a:gd name="connsiteY4" fmla="*/ 2983038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119069"/>
                <a:gd name="connsiteY0" fmla="*/ 0 h 6855043"/>
                <a:gd name="connsiteX1" fmla="*/ 5717858 w 6119069"/>
                <a:gd name="connsiteY1" fmla="*/ 0 h 6855043"/>
                <a:gd name="connsiteX2" fmla="*/ 5714999 w 6119069"/>
                <a:gd name="connsiteY2" fmla="*/ 1391289 h 6855043"/>
                <a:gd name="connsiteX3" fmla="*/ 6098107 w 6119069"/>
                <a:gd name="connsiteY3" fmla="*/ 1770215 h 6855043"/>
                <a:gd name="connsiteX4" fmla="*/ 6087804 w 6119069"/>
                <a:gd name="connsiteY4" fmla="*/ 2964931 h 6855043"/>
                <a:gd name="connsiteX5" fmla="*/ 5713067 w 6119069"/>
                <a:gd name="connsiteY5" fmla="*/ 3352181 h 6855043"/>
                <a:gd name="connsiteX6" fmla="*/ 5717858 w 6119069"/>
                <a:gd name="connsiteY6" fmla="*/ 6855043 h 6855043"/>
                <a:gd name="connsiteX7" fmla="*/ 0 w 6119069"/>
                <a:gd name="connsiteY7" fmla="*/ 6855043 h 6855043"/>
                <a:gd name="connsiteX8" fmla="*/ 0 w 6119069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73985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98107" h="6855043">
                  <a:moveTo>
                    <a:pt x="0" y="0"/>
                  </a:moveTo>
                  <a:lnTo>
                    <a:pt x="5717858" y="0"/>
                  </a:lnTo>
                  <a:lnTo>
                    <a:pt x="5714999" y="1391289"/>
                  </a:lnTo>
                  <a:lnTo>
                    <a:pt x="6098107" y="1770215"/>
                  </a:lnTo>
                  <a:cubicBezTo>
                    <a:pt x="6097356" y="2042939"/>
                    <a:pt x="6094320" y="2706021"/>
                    <a:pt x="6087804" y="2973985"/>
                  </a:cubicBezTo>
                  <a:cubicBezTo>
                    <a:pt x="6087512" y="2985992"/>
                    <a:pt x="5904491" y="3165556"/>
                    <a:pt x="5713067" y="3352181"/>
                  </a:cubicBezTo>
                  <a:cubicBezTo>
                    <a:pt x="5711481" y="3806821"/>
                    <a:pt x="5716261" y="5687422"/>
                    <a:pt x="5717858" y="6855043"/>
                  </a:cubicBezTo>
                  <a:lnTo>
                    <a:pt x="0" y="68550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Arial" panose="020B0604020202020204" pitchFamily="34" charset="0"/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4939469" y="0"/>
              <a:ext cx="7252531" cy="478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4939469" y="6401107"/>
              <a:ext cx="7252531" cy="478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8" name="Прямая соединительная линия 7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15"/>
          <p:cNvSpPr>
            <a:spLocks noGrp="1"/>
          </p:cNvSpPr>
          <p:nvPr>
            <p:ph type="body" sz="quarter" idx="11" hasCustomPrompt="1"/>
          </p:nvPr>
        </p:nvSpPr>
        <p:spPr>
          <a:xfrm>
            <a:off x="559278" y="4075611"/>
            <a:ext cx="4826000" cy="4220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60"/>
              </a:lnSpc>
              <a:spcBef>
                <a:spcPts val="0"/>
              </a:spcBef>
              <a:buNone/>
              <a:defRPr sz="2800" b="0" i="0" baseline="0">
                <a:solidFill>
                  <a:srgbClr val="80BC00"/>
                </a:solidFill>
                <a:latin typeface="Arial Narrow" panose="020B0604020202020204" pitchFamily="34" charset="0"/>
              </a:defRPr>
            </a:lvl1pPr>
          </a:lstStyle>
          <a:p>
            <a:pPr lvl="0"/>
            <a:r>
              <a:rPr lang="ru-RU" dirty="0"/>
              <a:t>Фамилия Имя Отчество</a:t>
            </a:r>
          </a:p>
        </p:txBody>
      </p:sp>
      <p:sp>
        <p:nvSpPr>
          <p:cNvPr id="15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535466" y="4391996"/>
            <a:ext cx="4849812" cy="6752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i="1" baseline="0"/>
            </a:lvl1pPr>
          </a:lstStyle>
          <a:p>
            <a:pPr lvl="0"/>
            <a:r>
              <a:rPr lang="ru-RU" dirty="0"/>
              <a:t>Должность докладчика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531813" y="1233229"/>
            <a:ext cx="4894262" cy="24900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/>
            </a:lvl1pPr>
          </a:lstStyle>
          <a:p>
            <a:pPr lvl="0"/>
            <a:r>
              <a:rPr lang="ru-RU"/>
              <a:t>Текст-цитата не более семи строк</a:t>
            </a:r>
          </a:p>
        </p:txBody>
      </p:sp>
      <p:pic>
        <p:nvPicPr>
          <p:cNvPr id="17" name="Рисунок 27">
            <a:extLst>
              <a:ext uri="{FF2B5EF4-FFF2-40B4-BE49-F238E27FC236}">
                <a16:creationId xmlns:a16="http://schemas.microsoft.com/office/drawing/2014/main" id="{F78908C2-D7C9-FE45-9CBF-65164E58F8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18444" y="5834587"/>
            <a:ext cx="1995565" cy="552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5884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oute slide (inser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5709684" y="478543"/>
            <a:ext cx="6482316" cy="5911366"/>
          </a:xfrm>
          <a:custGeom>
            <a:avLst/>
            <a:gdLst>
              <a:gd name="connsiteX0" fmla="*/ 0 w 6464300"/>
              <a:gd name="connsiteY0" fmla="*/ 0 h 5911345"/>
              <a:gd name="connsiteX1" fmla="*/ 6464300 w 6464300"/>
              <a:gd name="connsiteY1" fmla="*/ 0 h 5911345"/>
              <a:gd name="connsiteX2" fmla="*/ 6464300 w 6464300"/>
              <a:gd name="connsiteY2" fmla="*/ 5911345 h 5911345"/>
              <a:gd name="connsiteX3" fmla="*/ 0 w 6464300"/>
              <a:gd name="connsiteY3" fmla="*/ 5911345 h 5911345"/>
              <a:gd name="connsiteX4" fmla="*/ 0 w 6464300"/>
              <a:gd name="connsiteY4" fmla="*/ 0 h 5911345"/>
              <a:gd name="connsiteX0" fmla="*/ 0 w 6464300"/>
              <a:gd name="connsiteY0" fmla="*/ 16448 h 5927793"/>
              <a:gd name="connsiteX1" fmla="*/ 14339 w 6464300"/>
              <a:gd name="connsiteY1" fmla="*/ 0 h 5927793"/>
              <a:gd name="connsiteX2" fmla="*/ 6464300 w 6464300"/>
              <a:gd name="connsiteY2" fmla="*/ 16448 h 5927793"/>
              <a:gd name="connsiteX3" fmla="*/ 6464300 w 6464300"/>
              <a:gd name="connsiteY3" fmla="*/ 5927793 h 5927793"/>
              <a:gd name="connsiteX4" fmla="*/ 0 w 6464300"/>
              <a:gd name="connsiteY4" fmla="*/ 5927793 h 5927793"/>
              <a:gd name="connsiteX5" fmla="*/ 0 w 6464300"/>
              <a:gd name="connsiteY5" fmla="*/ 16448 h 5927793"/>
              <a:gd name="connsiteX0" fmla="*/ 0 w 6474132"/>
              <a:gd name="connsiteY0" fmla="*/ 980009 h 5927793"/>
              <a:gd name="connsiteX1" fmla="*/ 24171 w 6474132"/>
              <a:gd name="connsiteY1" fmla="*/ 0 h 5927793"/>
              <a:gd name="connsiteX2" fmla="*/ 6474132 w 6474132"/>
              <a:gd name="connsiteY2" fmla="*/ 16448 h 5927793"/>
              <a:gd name="connsiteX3" fmla="*/ 6474132 w 6474132"/>
              <a:gd name="connsiteY3" fmla="*/ 5927793 h 5927793"/>
              <a:gd name="connsiteX4" fmla="*/ 9832 w 6474132"/>
              <a:gd name="connsiteY4" fmla="*/ 5927793 h 5927793"/>
              <a:gd name="connsiteX5" fmla="*/ 0 w 6474132"/>
              <a:gd name="connsiteY5" fmla="*/ 980009 h 5927793"/>
              <a:gd name="connsiteX0" fmla="*/ 0 w 6474132"/>
              <a:gd name="connsiteY0" fmla="*/ 963561 h 5911345"/>
              <a:gd name="connsiteX1" fmla="*/ 2269 w 6474132"/>
              <a:gd name="connsiteY1" fmla="*/ 21881 h 5911345"/>
              <a:gd name="connsiteX2" fmla="*/ 6474132 w 6474132"/>
              <a:gd name="connsiteY2" fmla="*/ 0 h 5911345"/>
              <a:gd name="connsiteX3" fmla="*/ 6474132 w 6474132"/>
              <a:gd name="connsiteY3" fmla="*/ 5911345 h 5911345"/>
              <a:gd name="connsiteX4" fmla="*/ 9832 w 6474132"/>
              <a:gd name="connsiteY4" fmla="*/ 5911345 h 5911345"/>
              <a:gd name="connsiteX5" fmla="*/ 0 w 6474132"/>
              <a:gd name="connsiteY5" fmla="*/ 963561 h 5911345"/>
              <a:gd name="connsiteX0" fmla="*/ 0 w 6474132"/>
              <a:gd name="connsiteY0" fmla="*/ 963582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63582 h 5911366"/>
              <a:gd name="connsiteX0" fmla="*/ 0 w 6474132"/>
              <a:gd name="connsiteY0" fmla="*/ 930729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30729 h 5911366"/>
              <a:gd name="connsiteX0" fmla="*/ 0 w 6474132"/>
              <a:gd name="connsiteY0" fmla="*/ 908827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08827 h 5911366"/>
              <a:gd name="connsiteX0" fmla="*/ 14184 w 6471890"/>
              <a:gd name="connsiteY0" fmla="*/ 930729 h 5911366"/>
              <a:gd name="connsiteX1" fmla="*/ 27 w 6471890"/>
              <a:gd name="connsiteY1" fmla="*/ 0 h 5911366"/>
              <a:gd name="connsiteX2" fmla="*/ 6471890 w 6471890"/>
              <a:gd name="connsiteY2" fmla="*/ 21 h 5911366"/>
              <a:gd name="connsiteX3" fmla="*/ 6471890 w 6471890"/>
              <a:gd name="connsiteY3" fmla="*/ 5911366 h 5911366"/>
              <a:gd name="connsiteX4" fmla="*/ 7590 w 6471890"/>
              <a:gd name="connsiteY4" fmla="*/ 5911366 h 5911366"/>
              <a:gd name="connsiteX5" fmla="*/ 14184 w 6471890"/>
              <a:gd name="connsiteY5" fmla="*/ 930729 h 5911366"/>
              <a:gd name="connsiteX0" fmla="*/ 68918 w 6471870"/>
              <a:gd name="connsiteY0" fmla="*/ 919778 h 5911366"/>
              <a:gd name="connsiteX1" fmla="*/ 7 w 6471870"/>
              <a:gd name="connsiteY1" fmla="*/ 0 h 5911366"/>
              <a:gd name="connsiteX2" fmla="*/ 6471870 w 6471870"/>
              <a:gd name="connsiteY2" fmla="*/ 21 h 5911366"/>
              <a:gd name="connsiteX3" fmla="*/ 6471870 w 6471870"/>
              <a:gd name="connsiteY3" fmla="*/ 5911366 h 5911366"/>
              <a:gd name="connsiteX4" fmla="*/ 7570 w 6471870"/>
              <a:gd name="connsiteY4" fmla="*/ 5911366 h 5911366"/>
              <a:gd name="connsiteX5" fmla="*/ 68918 w 6471870"/>
              <a:gd name="connsiteY5" fmla="*/ 919778 h 5911366"/>
              <a:gd name="connsiteX0" fmla="*/ 3287 w 6471945"/>
              <a:gd name="connsiteY0" fmla="*/ 947155 h 5911366"/>
              <a:gd name="connsiteX1" fmla="*/ 82 w 6471945"/>
              <a:gd name="connsiteY1" fmla="*/ 0 h 5911366"/>
              <a:gd name="connsiteX2" fmla="*/ 6471945 w 6471945"/>
              <a:gd name="connsiteY2" fmla="*/ 21 h 5911366"/>
              <a:gd name="connsiteX3" fmla="*/ 6471945 w 6471945"/>
              <a:gd name="connsiteY3" fmla="*/ 5911366 h 5911366"/>
              <a:gd name="connsiteX4" fmla="*/ 7645 w 6471945"/>
              <a:gd name="connsiteY4" fmla="*/ 5911366 h 5911366"/>
              <a:gd name="connsiteX5" fmla="*/ 3287 w 6471945"/>
              <a:gd name="connsiteY5" fmla="*/ 947155 h 5911366"/>
              <a:gd name="connsiteX0" fmla="*/ 0 w 6474134"/>
              <a:gd name="connsiteY0" fmla="*/ 914302 h 5911366"/>
              <a:gd name="connsiteX1" fmla="*/ 2271 w 6474134"/>
              <a:gd name="connsiteY1" fmla="*/ 0 h 5911366"/>
              <a:gd name="connsiteX2" fmla="*/ 6474134 w 6474134"/>
              <a:gd name="connsiteY2" fmla="*/ 21 h 5911366"/>
              <a:gd name="connsiteX3" fmla="*/ 6474134 w 6474134"/>
              <a:gd name="connsiteY3" fmla="*/ 5911366 h 5911366"/>
              <a:gd name="connsiteX4" fmla="*/ 9834 w 6474134"/>
              <a:gd name="connsiteY4" fmla="*/ 5911366 h 5911366"/>
              <a:gd name="connsiteX5" fmla="*/ 0 w 6474134"/>
              <a:gd name="connsiteY5" fmla="*/ 914302 h 5911366"/>
              <a:gd name="connsiteX0" fmla="*/ 8721 w 6471904"/>
              <a:gd name="connsiteY0" fmla="*/ 925253 h 5911366"/>
              <a:gd name="connsiteX1" fmla="*/ 41 w 6471904"/>
              <a:gd name="connsiteY1" fmla="*/ 0 h 5911366"/>
              <a:gd name="connsiteX2" fmla="*/ 6471904 w 6471904"/>
              <a:gd name="connsiteY2" fmla="*/ 21 h 5911366"/>
              <a:gd name="connsiteX3" fmla="*/ 6471904 w 6471904"/>
              <a:gd name="connsiteY3" fmla="*/ 5911366 h 5911366"/>
              <a:gd name="connsiteX4" fmla="*/ 7604 w 6471904"/>
              <a:gd name="connsiteY4" fmla="*/ 5911366 h 5911366"/>
              <a:gd name="connsiteX5" fmla="*/ 8721 w 6471904"/>
              <a:gd name="connsiteY5" fmla="*/ 925253 h 5911366"/>
              <a:gd name="connsiteX0" fmla="*/ 0 w 6473816"/>
              <a:gd name="connsiteY0" fmla="*/ 93588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0 w 6473816"/>
              <a:gd name="connsiteY5" fmla="*/ 935886 h 5911366"/>
              <a:gd name="connsiteX0" fmla="*/ 473219 w 6947035"/>
              <a:gd name="connsiteY0" fmla="*/ 935886 h 5911366"/>
              <a:gd name="connsiteX1" fmla="*/ 475172 w 6947035"/>
              <a:gd name="connsiteY1" fmla="*/ 0 h 5911366"/>
              <a:gd name="connsiteX2" fmla="*/ 6947035 w 6947035"/>
              <a:gd name="connsiteY2" fmla="*/ 21 h 5911366"/>
              <a:gd name="connsiteX3" fmla="*/ 6947035 w 6947035"/>
              <a:gd name="connsiteY3" fmla="*/ 5911366 h 5911366"/>
              <a:gd name="connsiteX4" fmla="*/ 482735 w 6947035"/>
              <a:gd name="connsiteY4" fmla="*/ 5911366 h 5911366"/>
              <a:gd name="connsiteX5" fmla="*/ 470036 w 6947035"/>
              <a:gd name="connsiteY5" fmla="*/ 2732490 h 5911366"/>
              <a:gd name="connsiteX6" fmla="*/ 473219 w 6947035"/>
              <a:gd name="connsiteY6" fmla="*/ 935886 h 5911366"/>
              <a:gd name="connsiteX0" fmla="*/ 472029 w 6945845"/>
              <a:gd name="connsiteY0" fmla="*/ 935886 h 5911366"/>
              <a:gd name="connsiteX1" fmla="*/ 473982 w 6945845"/>
              <a:gd name="connsiteY1" fmla="*/ 0 h 5911366"/>
              <a:gd name="connsiteX2" fmla="*/ 6945845 w 6945845"/>
              <a:gd name="connsiteY2" fmla="*/ 21 h 5911366"/>
              <a:gd name="connsiteX3" fmla="*/ 6945845 w 6945845"/>
              <a:gd name="connsiteY3" fmla="*/ 5911366 h 5911366"/>
              <a:gd name="connsiteX4" fmla="*/ 481545 w 6945845"/>
              <a:gd name="connsiteY4" fmla="*/ 5911366 h 5911366"/>
              <a:gd name="connsiteX5" fmla="*/ 468846 w 6945845"/>
              <a:gd name="connsiteY5" fmla="*/ 2732490 h 5911366"/>
              <a:gd name="connsiteX6" fmla="*/ 472029 w 6945845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8563 w 6482379"/>
              <a:gd name="connsiteY0" fmla="*/ 935886 h 5911366"/>
              <a:gd name="connsiteX1" fmla="*/ 10516 w 6482379"/>
              <a:gd name="connsiteY1" fmla="*/ 0 h 5911366"/>
              <a:gd name="connsiteX2" fmla="*/ 6482379 w 6482379"/>
              <a:gd name="connsiteY2" fmla="*/ 21 h 5911366"/>
              <a:gd name="connsiteX3" fmla="*/ 6482379 w 6482379"/>
              <a:gd name="connsiteY3" fmla="*/ 5911366 h 5911366"/>
              <a:gd name="connsiteX4" fmla="*/ 18079 w 6482379"/>
              <a:gd name="connsiteY4" fmla="*/ 5911366 h 5911366"/>
              <a:gd name="connsiteX5" fmla="*/ 5380 w 6482379"/>
              <a:gd name="connsiteY5" fmla="*/ 2732490 h 5911366"/>
              <a:gd name="connsiteX6" fmla="*/ 64 w 6482379"/>
              <a:gd name="connsiteY6" fmla="*/ 2599583 h 5911366"/>
              <a:gd name="connsiteX7" fmla="*/ 8563 w 6482379"/>
              <a:gd name="connsiteY7" fmla="*/ 935886 h 5911366"/>
              <a:gd name="connsiteX0" fmla="*/ 14065 w 6487881"/>
              <a:gd name="connsiteY0" fmla="*/ 935886 h 5911366"/>
              <a:gd name="connsiteX1" fmla="*/ 16018 w 6487881"/>
              <a:gd name="connsiteY1" fmla="*/ 0 h 5911366"/>
              <a:gd name="connsiteX2" fmla="*/ 6487881 w 6487881"/>
              <a:gd name="connsiteY2" fmla="*/ 21 h 5911366"/>
              <a:gd name="connsiteX3" fmla="*/ 6487881 w 6487881"/>
              <a:gd name="connsiteY3" fmla="*/ 5911366 h 5911366"/>
              <a:gd name="connsiteX4" fmla="*/ 23581 w 6487881"/>
              <a:gd name="connsiteY4" fmla="*/ 5911366 h 5911366"/>
              <a:gd name="connsiteX5" fmla="*/ 10882 w 6487881"/>
              <a:gd name="connsiteY5" fmla="*/ 2732490 h 5911366"/>
              <a:gd name="connsiteX6" fmla="*/ 5566 w 6487881"/>
              <a:gd name="connsiteY6" fmla="*/ 2599583 h 5911366"/>
              <a:gd name="connsiteX7" fmla="*/ 250 w 6487881"/>
              <a:gd name="connsiteY7" fmla="*/ 2067955 h 5911366"/>
              <a:gd name="connsiteX8" fmla="*/ 14065 w 6487881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89335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893356 h 5911366"/>
              <a:gd name="connsiteX0" fmla="*/ 3201 w 6477017"/>
              <a:gd name="connsiteY0" fmla="*/ 893356 h 5911366"/>
              <a:gd name="connsiteX1" fmla="*/ 5154 w 6477017"/>
              <a:gd name="connsiteY1" fmla="*/ 0 h 5911366"/>
              <a:gd name="connsiteX2" fmla="*/ 6477017 w 6477017"/>
              <a:gd name="connsiteY2" fmla="*/ 21 h 5911366"/>
              <a:gd name="connsiteX3" fmla="*/ 6477017 w 6477017"/>
              <a:gd name="connsiteY3" fmla="*/ 5911366 h 5911366"/>
              <a:gd name="connsiteX4" fmla="*/ 12717 w 6477017"/>
              <a:gd name="connsiteY4" fmla="*/ 5911366 h 5911366"/>
              <a:gd name="connsiteX5" fmla="*/ 18 w 6477017"/>
              <a:gd name="connsiteY5" fmla="*/ 2732490 h 5911366"/>
              <a:gd name="connsiteX6" fmla="*/ 382790 w 6477017"/>
              <a:gd name="connsiteY6" fmla="*/ 2487941 h 5911366"/>
              <a:gd name="connsiteX7" fmla="*/ 398739 w 6477017"/>
              <a:gd name="connsiteY7" fmla="*/ 1286462 h 5911366"/>
              <a:gd name="connsiteX8" fmla="*/ 3201 w 6477017"/>
              <a:gd name="connsiteY8" fmla="*/ 893356 h 5911366"/>
              <a:gd name="connsiteX0" fmla="*/ 8517 w 6482333"/>
              <a:gd name="connsiteY0" fmla="*/ 893356 h 5911366"/>
              <a:gd name="connsiteX1" fmla="*/ 10470 w 6482333"/>
              <a:gd name="connsiteY1" fmla="*/ 0 h 5911366"/>
              <a:gd name="connsiteX2" fmla="*/ 6482333 w 6482333"/>
              <a:gd name="connsiteY2" fmla="*/ 21 h 5911366"/>
              <a:gd name="connsiteX3" fmla="*/ 6482333 w 6482333"/>
              <a:gd name="connsiteY3" fmla="*/ 5911366 h 5911366"/>
              <a:gd name="connsiteX4" fmla="*/ 18033 w 6482333"/>
              <a:gd name="connsiteY4" fmla="*/ 5911366 h 5911366"/>
              <a:gd name="connsiteX5" fmla="*/ 17 w 6482333"/>
              <a:gd name="connsiteY5" fmla="*/ 2913244 h 5911366"/>
              <a:gd name="connsiteX6" fmla="*/ 388106 w 6482333"/>
              <a:gd name="connsiteY6" fmla="*/ 2487941 h 5911366"/>
              <a:gd name="connsiteX7" fmla="*/ 404055 w 6482333"/>
              <a:gd name="connsiteY7" fmla="*/ 1286462 h 5911366"/>
              <a:gd name="connsiteX8" fmla="*/ 8517 w 6482333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82316" h="5911366">
                <a:moveTo>
                  <a:pt x="8500" y="893356"/>
                </a:moveTo>
                <a:cubicBezTo>
                  <a:pt x="9256" y="579463"/>
                  <a:pt x="9697" y="313893"/>
                  <a:pt x="10453" y="0"/>
                </a:cubicBezTo>
                <a:lnTo>
                  <a:pt x="6482316" y="21"/>
                </a:lnTo>
                <a:lnTo>
                  <a:pt x="6482316" y="5911366"/>
                </a:lnTo>
                <a:lnTo>
                  <a:pt x="18016" y="5911366"/>
                </a:lnTo>
                <a:cubicBezTo>
                  <a:pt x="12404" y="4865874"/>
                  <a:pt x="6902" y="3554944"/>
                  <a:pt x="0" y="2902611"/>
                </a:cubicBezTo>
                <a:cubicBezTo>
                  <a:pt x="214965" y="2664307"/>
                  <a:pt x="137693" y="2760793"/>
                  <a:pt x="388089" y="2487941"/>
                </a:cubicBezTo>
                <a:cubicBezTo>
                  <a:pt x="386317" y="2377185"/>
                  <a:pt x="402622" y="1563745"/>
                  <a:pt x="404038" y="1286462"/>
                </a:cubicBezTo>
                <a:cubicBezTo>
                  <a:pt x="155589" y="1057025"/>
                  <a:pt x="266370" y="1158271"/>
                  <a:pt x="8500" y="893356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/>
          <a:lstStyle>
            <a:lvl1pPr marL="0" indent="0" algn="ctr">
              <a:buNone/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rgbClr val="E600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15"/>
          <p:cNvSpPr>
            <a:spLocks noGrp="1"/>
          </p:cNvSpPr>
          <p:nvPr>
            <p:ph type="body" sz="quarter" idx="11" hasCustomPrompt="1"/>
          </p:nvPr>
        </p:nvSpPr>
        <p:spPr>
          <a:xfrm>
            <a:off x="559278" y="4064460"/>
            <a:ext cx="4826000" cy="422060"/>
          </a:xfrm>
          <a:prstGeom prst="rect">
            <a:avLst/>
          </a:prstGeom>
        </p:spPr>
        <p:txBody>
          <a:bodyPr/>
          <a:lstStyle>
            <a:lvl1pPr>
              <a:defRPr lang="ru-RU" b="0" i="0" baseline="0" dirty="0">
                <a:solidFill>
                  <a:srgbClr val="80BC00"/>
                </a:solidFill>
                <a:latin typeface="Arial Narrow" panose="020B0604020202020204" pitchFamily="34" charset="0"/>
              </a:defRPr>
            </a:lvl1pPr>
          </a:lstStyle>
          <a:p>
            <a:pPr marL="0" lvl="0" indent="0">
              <a:lnSpc>
                <a:spcPts val="2460"/>
              </a:lnSpc>
              <a:spcBef>
                <a:spcPts val="0"/>
              </a:spcBef>
              <a:buNone/>
            </a:pPr>
            <a:r>
              <a:rPr lang="ru-RU" dirty="0"/>
              <a:t>Фамилия Имя Отчество</a:t>
            </a:r>
          </a:p>
        </p:txBody>
      </p:sp>
      <p:sp>
        <p:nvSpPr>
          <p:cNvPr id="12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535466" y="4391996"/>
            <a:ext cx="4849812" cy="6752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i="1" baseline="0"/>
            </a:lvl1pPr>
          </a:lstStyle>
          <a:p>
            <a:pPr lvl="0"/>
            <a:r>
              <a:rPr lang="ru-RU" dirty="0"/>
              <a:t>Должность докладчика</a:t>
            </a:r>
          </a:p>
        </p:txBody>
      </p:sp>
      <p:sp>
        <p:nvSpPr>
          <p:cNvPr id="13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531813" y="1233229"/>
            <a:ext cx="4894262" cy="24900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/>
            </a:lvl1pPr>
          </a:lstStyle>
          <a:p>
            <a:pPr lvl="0"/>
            <a:r>
              <a:rPr lang="ru-RU"/>
              <a:t>Текст-цитата не более семи строк</a:t>
            </a:r>
          </a:p>
        </p:txBody>
      </p:sp>
      <p:pic>
        <p:nvPicPr>
          <p:cNvPr id="14" name="Рисунок 27">
            <a:extLst>
              <a:ext uri="{FF2B5EF4-FFF2-40B4-BE49-F238E27FC236}">
                <a16:creationId xmlns:a16="http://schemas.microsoft.com/office/drawing/2014/main" id="{450192EF-36AD-1E4E-BEA2-82150A442E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18444" y="5834587"/>
            <a:ext cx="1995565" cy="552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9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12"/>
          <p:cNvSpPr>
            <a:spLocks noGrp="1"/>
          </p:cNvSpPr>
          <p:nvPr>
            <p:ph type="pic" sz="quarter" idx="14" hasCustomPrompt="1"/>
          </p:nvPr>
        </p:nvSpPr>
        <p:spPr>
          <a:xfrm>
            <a:off x="622998" y="1175657"/>
            <a:ext cx="10952703" cy="48533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/>
          <a:lstStyle>
            <a:lvl1pPr marL="0" indent="0" algn="ctr">
              <a:buNone/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3" name="Полилиния 12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8" hasCustomPrompt="1"/>
          </p:nvPr>
        </p:nvSpPr>
        <p:spPr>
          <a:xfrm>
            <a:off x="886551" y="410933"/>
            <a:ext cx="5043422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spcBef>
                <a:spcPts val="0"/>
              </a:spcBef>
              <a:buNone/>
              <a:defRPr sz="2400" b="0" i="0" spc="0" baseline="0">
                <a:solidFill>
                  <a:schemeClr val="accent3"/>
                </a:solidFill>
                <a:latin typeface="Arial Narrow" panose="020B0604020202020204" pitchFamily="34" charset="0"/>
              </a:defRPr>
            </a:lvl1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/>
              <a:t>Подзаголовок слайда</a:t>
            </a:r>
          </a:p>
        </p:txBody>
      </p:sp>
      <p:pic>
        <p:nvPicPr>
          <p:cNvPr id="16" name="Рисунок 27">
            <a:extLst>
              <a:ext uri="{FF2B5EF4-FFF2-40B4-BE49-F238E27FC236}">
                <a16:creationId xmlns:a16="http://schemas.microsoft.com/office/drawing/2014/main" id="{A28D35BF-E57A-4842-BEB8-E6ECD0F074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788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884898" y="229731"/>
            <a:ext cx="8307102" cy="6472404"/>
          </a:xfrm>
          <a:prstGeom prst="rect">
            <a:avLst/>
          </a:prstGeom>
        </p:spPr>
      </p:pic>
      <p:grpSp>
        <p:nvGrpSpPr>
          <p:cNvPr id="10" name="Группа 9"/>
          <p:cNvGrpSpPr/>
          <p:nvPr userDrawn="1"/>
        </p:nvGrpSpPr>
        <p:grpSpPr>
          <a:xfrm>
            <a:off x="9057" y="1479"/>
            <a:ext cx="12182943" cy="6856521"/>
            <a:chOff x="9057" y="0"/>
            <a:chExt cx="12182943" cy="6856521"/>
          </a:xfrm>
          <a:solidFill>
            <a:schemeClr val="bg1"/>
          </a:solidFill>
        </p:grpSpPr>
        <p:sp>
          <p:nvSpPr>
            <p:cNvPr id="11" name="Прямоугольник 7"/>
            <p:cNvSpPr/>
            <p:nvPr/>
          </p:nvSpPr>
          <p:spPr>
            <a:xfrm>
              <a:off x="9057" y="1478"/>
              <a:ext cx="6098107" cy="6855043"/>
            </a:xfrm>
            <a:custGeom>
              <a:avLst/>
              <a:gdLst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7858 w 5717858"/>
                <a:gd name="connsiteY2" fmla="*/ 6855043 h 6855043"/>
                <a:gd name="connsiteX3" fmla="*/ 0 w 5717858"/>
                <a:gd name="connsiteY3" fmla="*/ 6855043 h 6855043"/>
                <a:gd name="connsiteX4" fmla="*/ 0 w 5717858"/>
                <a:gd name="connsiteY4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7858 w 5717858"/>
                <a:gd name="connsiteY3" fmla="*/ 6855043 h 6855043"/>
                <a:gd name="connsiteX4" fmla="*/ 0 w 5717858"/>
                <a:gd name="connsiteY4" fmla="*/ 6855043 h 6855043"/>
                <a:gd name="connsiteX5" fmla="*/ 0 w 5717858"/>
                <a:gd name="connsiteY5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7858 w 5717858"/>
                <a:gd name="connsiteY4" fmla="*/ 6855043 h 6855043"/>
                <a:gd name="connsiteX5" fmla="*/ 0 w 5717858"/>
                <a:gd name="connsiteY5" fmla="*/ 6855043 h 6855043"/>
                <a:gd name="connsiteX6" fmla="*/ 0 w 5717858"/>
                <a:gd name="connsiteY6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3067 w 5717858"/>
                <a:gd name="connsiteY4" fmla="*/ 3352181 h 6855043"/>
                <a:gd name="connsiteX5" fmla="*/ 5717858 w 5717858"/>
                <a:gd name="connsiteY5" fmla="*/ 6855043 h 6855043"/>
                <a:gd name="connsiteX6" fmla="*/ 0 w 5717858"/>
                <a:gd name="connsiteY6" fmla="*/ 6855043 h 6855043"/>
                <a:gd name="connsiteX7" fmla="*/ 0 w 5717858"/>
                <a:gd name="connsiteY7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53070"/>
                <a:gd name="connsiteY0" fmla="*/ 0 h 6855043"/>
                <a:gd name="connsiteX1" fmla="*/ 5717858 w 6053070"/>
                <a:gd name="connsiteY1" fmla="*/ 0 h 6855043"/>
                <a:gd name="connsiteX2" fmla="*/ 5714999 w 6053070"/>
                <a:gd name="connsiteY2" fmla="*/ 1391289 h 6855043"/>
                <a:gd name="connsiteX3" fmla="*/ 6053070 w 6053070"/>
                <a:gd name="connsiteY3" fmla="*/ 1971567 h 6855043"/>
                <a:gd name="connsiteX4" fmla="*/ 5710491 w 6053070"/>
                <a:gd name="connsiteY4" fmla="*/ 3027633 h 6855043"/>
                <a:gd name="connsiteX5" fmla="*/ 5713067 w 6053070"/>
                <a:gd name="connsiteY5" fmla="*/ 3352181 h 6855043"/>
                <a:gd name="connsiteX6" fmla="*/ 5717858 w 6053070"/>
                <a:gd name="connsiteY6" fmla="*/ 6855043 h 6855043"/>
                <a:gd name="connsiteX7" fmla="*/ 0 w 6053070"/>
                <a:gd name="connsiteY7" fmla="*/ 6855043 h 6855043"/>
                <a:gd name="connsiteX8" fmla="*/ 0 w 6053070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710491 w 6107161"/>
                <a:gd name="connsiteY4" fmla="*/ 3027633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2069"/>
                <a:gd name="connsiteY0" fmla="*/ 0 h 6855043"/>
                <a:gd name="connsiteX1" fmla="*/ 5717858 w 6112069"/>
                <a:gd name="connsiteY1" fmla="*/ 0 h 6855043"/>
                <a:gd name="connsiteX2" fmla="*/ 5714999 w 6112069"/>
                <a:gd name="connsiteY2" fmla="*/ 1391289 h 6855043"/>
                <a:gd name="connsiteX3" fmla="*/ 6107161 w 6112069"/>
                <a:gd name="connsiteY3" fmla="*/ 1773233 h 6855043"/>
                <a:gd name="connsiteX4" fmla="*/ 5906250 w 6112069"/>
                <a:gd name="connsiteY4" fmla="*/ 2914299 h 6855043"/>
                <a:gd name="connsiteX5" fmla="*/ 5713067 w 6112069"/>
                <a:gd name="connsiteY5" fmla="*/ 3352181 h 6855043"/>
                <a:gd name="connsiteX6" fmla="*/ 5717858 w 6112069"/>
                <a:gd name="connsiteY6" fmla="*/ 6855043 h 6855043"/>
                <a:gd name="connsiteX7" fmla="*/ 0 w 6112069"/>
                <a:gd name="connsiteY7" fmla="*/ 6855043 h 6855043"/>
                <a:gd name="connsiteX8" fmla="*/ 0 w 611206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0968"/>
                <a:gd name="connsiteY0" fmla="*/ 0 h 6855043"/>
                <a:gd name="connsiteX1" fmla="*/ 5717858 w 6110968"/>
                <a:gd name="connsiteY1" fmla="*/ 0 h 6855043"/>
                <a:gd name="connsiteX2" fmla="*/ 5714999 w 6110968"/>
                <a:gd name="connsiteY2" fmla="*/ 1391289 h 6855043"/>
                <a:gd name="connsiteX3" fmla="*/ 6034733 w 6110968"/>
                <a:gd name="connsiteY3" fmla="*/ 1812464 h 6855043"/>
                <a:gd name="connsiteX4" fmla="*/ 6096858 w 6110968"/>
                <a:gd name="connsiteY4" fmla="*/ 2970966 h 6855043"/>
                <a:gd name="connsiteX5" fmla="*/ 5713067 w 6110968"/>
                <a:gd name="connsiteY5" fmla="*/ 3352181 h 6855043"/>
                <a:gd name="connsiteX6" fmla="*/ 5717858 w 6110968"/>
                <a:gd name="connsiteY6" fmla="*/ 6855043 h 6855043"/>
                <a:gd name="connsiteX7" fmla="*/ 0 w 6110968"/>
                <a:gd name="connsiteY7" fmla="*/ 6855043 h 6855043"/>
                <a:gd name="connsiteX8" fmla="*/ 0 w 6110968"/>
                <a:gd name="connsiteY8" fmla="*/ 0 h 6855043"/>
                <a:gd name="connsiteX0" fmla="*/ 0 w 6125537"/>
                <a:gd name="connsiteY0" fmla="*/ 0 h 6855043"/>
                <a:gd name="connsiteX1" fmla="*/ 5717858 w 6125537"/>
                <a:gd name="connsiteY1" fmla="*/ 0 h 6855043"/>
                <a:gd name="connsiteX2" fmla="*/ 5714999 w 6125537"/>
                <a:gd name="connsiteY2" fmla="*/ 1391289 h 6855043"/>
                <a:gd name="connsiteX3" fmla="*/ 6098107 w 6125537"/>
                <a:gd name="connsiteY3" fmla="*/ 1770215 h 6855043"/>
                <a:gd name="connsiteX4" fmla="*/ 6096858 w 6125537"/>
                <a:gd name="connsiteY4" fmla="*/ 2970966 h 6855043"/>
                <a:gd name="connsiteX5" fmla="*/ 5713067 w 6125537"/>
                <a:gd name="connsiteY5" fmla="*/ 3352181 h 6855043"/>
                <a:gd name="connsiteX6" fmla="*/ 5717858 w 6125537"/>
                <a:gd name="connsiteY6" fmla="*/ 6855043 h 6855043"/>
                <a:gd name="connsiteX7" fmla="*/ 0 w 6125537"/>
                <a:gd name="connsiteY7" fmla="*/ 6855043 h 6855043"/>
                <a:gd name="connsiteX8" fmla="*/ 0 w 612553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5936913 w 6098107"/>
                <a:gd name="connsiteY4" fmla="*/ 2983038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119069"/>
                <a:gd name="connsiteY0" fmla="*/ 0 h 6855043"/>
                <a:gd name="connsiteX1" fmla="*/ 5717858 w 6119069"/>
                <a:gd name="connsiteY1" fmla="*/ 0 h 6855043"/>
                <a:gd name="connsiteX2" fmla="*/ 5714999 w 6119069"/>
                <a:gd name="connsiteY2" fmla="*/ 1391289 h 6855043"/>
                <a:gd name="connsiteX3" fmla="*/ 6098107 w 6119069"/>
                <a:gd name="connsiteY3" fmla="*/ 1770215 h 6855043"/>
                <a:gd name="connsiteX4" fmla="*/ 6087804 w 6119069"/>
                <a:gd name="connsiteY4" fmla="*/ 2964931 h 6855043"/>
                <a:gd name="connsiteX5" fmla="*/ 5713067 w 6119069"/>
                <a:gd name="connsiteY5" fmla="*/ 3352181 h 6855043"/>
                <a:gd name="connsiteX6" fmla="*/ 5717858 w 6119069"/>
                <a:gd name="connsiteY6" fmla="*/ 6855043 h 6855043"/>
                <a:gd name="connsiteX7" fmla="*/ 0 w 6119069"/>
                <a:gd name="connsiteY7" fmla="*/ 6855043 h 6855043"/>
                <a:gd name="connsiteX8" fmla="*/ 0 w 6119069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73985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98107" h="6855043">
                  <a:moveTo>
                    <a:pt x="0" y="0"/>
                  </a:moveTo>
                  <a:lnTo>
                    <a:pt x="5717858" y="0"/>
                  </a:lnTo>
                  <a:lnTo>
                    <a:pt x="5714999" y="1391289"/>
                  </a:lnTo>
                  <a:lnTo>
                    <a:pt x="6098107" y="1770215"/>
                  </a:lnTo>
                  <a:cubicBezTo>
                    <a:pt x="6097356" y="2042939"/>
                    <a:pt x="6094320" y="2706021"/>
                    <a:pt x="6087804" y="2973985"/>
                  </a:cubicBezTo>
                  <a:cubicBezTo>
                    <a:pt x="6087512" y="2985992"/>
                    <a:pt x="5904491" y="3165556"/>
                    <a:pt x="5713067" y="3352181"/>
                  </a:cubicBezTo>
                  <a:cubicBezTo>
                    <a:pt x="5711481" y="3806821"/>
                    <a:pt x="5716261" y="5687422"/>
                    <a:pt x="5717858" y="6855043"/>
                  </a:cubicBezTo>
                  <a:lnTo>
                    <a:pt x="0" y="68550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Arial" panose="020B0604020202020204" pitchFamily="34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4939469" y="0"/>
              <a:ext cx="7252531" cy="478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4939469" y="6377957"/>
              <a:ext cx="7252531" cy="478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14" name="Прямая соединительная линия 13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олилиния 18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29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30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886551" y="1482896"/>
            <a:ext cx="4748292" cy="45337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pic>
        <p:nvPicPr>
          <p:cNvPr id="17" name="Рисунок 27">
            <a:extLst>
              <a:ext uri="{FF2B5EF4-FFF2-40B4-BE49-F238E27FC236}">
                <a16:creationId xmlns:a16="http://schemas.microsoft.com/office/drawing/2014/main" id="{31D2C45D-BF1A-E64E-BFA2-742ACC598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5C91B0-B7E2-1946-AF99-E44218DCA1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39338521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2"/>
          <p:cNvSpPr>
            <a:spLocks noGrp="1"/>
          </p:cNvSpPr>
          <p:nvPr>
            <p:ph type="pic" sz="quarter" idx="14" hasCustomPrompt="1"/>
          </p:nvPr>
        </p:nvSpPr>
        <p:spPr>
          <a:xfrm>
            <a:off x="5709684" y="478543"/>
            <a:ext cx="6482316" cy="5911366"/>
          </a:xfrm>
          <a:custGeom>
            <a:avLst/>
            <a:gdLst>
              <a:gd name="connsiteX0" fmla="*/ 0 w 6464300"/>
              <a:gd name="connsiteY0" fmla="*/ 0 h 5911345"/>
              <a:gd name="connsiteX1" fmla="*/ 6464300 w 6464300"/>
              <a:gd name="connsiteY1" fmla="*/ 0 h 5911345"/>
              <a:gd name="connsiteX2" fmla="*/ 6464300 w 6464300"/>
              <a:gd name="connsiteY2" fmla="*/ 5911345 h 5911345"/>
              <a:gd name="connsiteX3" fmla="*/ 0 w 6464300"/>
              <a:gd name="connsiteY3" fmla="*/ 5911345 h 5911345"/>
              <a:gd name="connsiteX4" fmla="*/ 0 w 6464300"/>
              <a:gd name="connsiteY4" fmla="*/ 0 h 5911345"/>
              <a:gd name="connsiteX0" fmla="*/ 0 w 6464300"/>
              <a:gd name="connsiteY0" fmla="*/ 16448 h 5927793"/>
              <a:gd name="connsiteX1" fmla="*/ 14339 w 6464300"/>
              <a:gd name="connsiteY1" fmla="*/ 0 h 5927793"/>
              <a:gd name="connsiteX2" fmla="*/ 6464300 w 6464300"/>
              <a:gd name="connsiteY2" fmla="*/ 16448 h 5927793"/>
              <a:gd name="connsiteX3" fmla="*/ 6464300 w 6464300"/>
              <a:gd name="connsiteY3" fmla="*/ 5927793 h 5927793"/>
              <a:gd name="connsiteX4" fmla="*/ 0 w 6464300"/>
              <a:gd name="connsiteY4" fmla="*/ 5927793 h 5927793"/>
              <a:gd name="connsiteX5" fmla="*/ 0 w 6464300"/>
              <a:gd name="connsiteY5" fmla="*/ 16448 h 5927793"/>
              <a:gd name="connsiteX0" fmla="*/ 0 w 6474132"/>
              <a:gd name="connsiteY0" fmla="*/ 980009 h 5927793"/>
              <a:gd name="connsiteX1" fmla="*/ 24171 w 6474132"/>
              <a:gd name="connsiteY1" fmla="*/ 0 h 5927793"/>
              <a:gd name="connsiteX2" fmla="*/ 6474132 w 6474132"/>
              <a:gd name="connsiteY2" fmla="*/ 16448 h 5927793"/>
              <a:gd name="connsiteX3" fmla="*/ 6474132 w 6474132"/>
              <a:gd name="connsiteY3" fmla="*/ 5927793 h 5927793"/>
              <a:gd name="connsiteX4" fmla="*/ 9832 w 6474132"/>
              <a:gd name="connsiteY4" fmla="*/ 5927793 h 5927793"/>
              <a:gd name="connsiteX5" fmla="*/ 0 w 6474132"/>
              <a:gd name="connsiteY5" fmla="*/ 980009 h 5927793"/>
              <a:gd name="connsiteX0" fmla="*/ 0 w 6474132"/>
              <a:gd name="connsiteY0" fmla="*/ 963561 h 5911345"/>
              <a:gd name="connsiteX1" fmla="*/ 2269 w 6474132"/>
              <a:gd name="connsiteY1" fmla="*/ 21881 h 5911345"/>
              <a:gd name="connsiteX2" fmla="*/ 6474132 w 6474132"/>
              <a:gd name="connsiteY2" fmla="*/ 0 h 5911345"/>
              <a:gd name="connsiteX3" fmla="*/ 6474132 w 6474132"/>
              <a:gd name="connsiteY3" fmla="*/ 5911345 h 5911345"/>
              <a:gd name="connsiteX4" fmla="*/ 9832 w 6474132"/>
              <a:gd name="connsiteY4" fmla="*/ 5911345 h 5911345"/>
              <a:gd name="connsiteX5" fmla="*/ 0 w 6474132"/>
              <a:gd name="connsiteY5" fmla="*/ 963561 h 5911345"/>
              <a:gd name="connsiteX0" fmla="*/ 0 w 6474132"/>
              <a:gd name="connsiteY0" fmla="*/ 963582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63582 h 5911366"/>
              <a:gd name="connsiteX0" fmla="*/ 0 w 6474132"/>
              <a:gd name="connsiteY0" fmla="*/ 930729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30729 h 5911366"/>
              <a:gd name="connsiteX0" fmla="*/ 0 w 6474132"/>
              <a:gd name="connsiteY0" fmla="*/ 908827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08827 h 5911366"/>
              <a:gd name="connsiteX0" fmla="*/ 14184 w 6471890"/>
              <a:gd name="connsiteY0" fmla="*/ 930729 h 5911366"/>
              <a:gd name="connsiteX1" fmla="*/ 27 w 6471890"/>
              <a:gd name="connsiteY1" fmla="*/ 0 h 5911366"/>
              <a:gd name="connsiteX2" fmla="*/ 6471890 w 6471890"/>
              <a:gd name="connsiteY2" fmla="*/ 21 h 5911366"/>
              <a:gd name="connsiteX3" fmla="*/ 6471890 w 6471890"/>
              <a:gd name="connsiteY3" fmla="*/ 5911366 h 5911366"/>
              <a:gd name="connsiteX4" fmla="*/ 7590 w 6471890"/>
              <a:gd name="connsiteY4" fmla="*/ 5911366 h 5911366"/>
              <a:gd name="connsiteX5" fmla="*/ 14184 w 6471890"/>
              <a:gd name="connsiteY5" fmla="*/ 930729 h 5911366"/>
              <a:gd name="connsiteX0" fmla="*/ 68918 w 6471870"/>
              <a:gd name="connsiteY0" fmla="*/ 919778 h 5911366"/>
              <a:gd name="connsiteX1" fmla="*/ 7 w 6471870"/>
              <a:gd name="connsiteY1" fmla="*/ 0 h 5911366"/>
              <a:gd name="connsiteX2" fmla="*/ 6471870 w 6471870"/>
              <a:gd name="connsiteY2" fmla="*/ 21 h 5911366"/>
              <a:gd name="connsiteX3" fmla="*/ 6471870 w 6471870"/>
              <a:gd name="connsiteY3" fmla="*/ 5911366 h 5911366"/>
              <a:gd name="connsiteX4" fmla="*/ 7570 w 6471870"/>
              <a:gd name="connsiteY4" fmla="*/ 5911366 h 5911366"/>
              <a:gd name="connsiteX5" fmla="*/ 68918 w 6471870"/>
              <a:gd name="connsiteY5" fmla="*/ 919778 h 5911366"/>
              <a:gd name="connsiteX0" fmla="*/ 3287 w 6471945"/>
              <a:gd name="connsiteY0" fmla="*/ 947155 h 5911366"/>
              <a:gd name="connsiteX1" fmla="*/ 82 w 6471945"/>
              <a:gd name="connsiteY1" fmla="*/ 0 h 5911366"/>
              <a:gd name="connsiteX2" fmla="*/ 6471945 w 6471945"/>
              <a:gd name="connsiteY2" fmla="*/ 21 h 5911366"/>
              <a:gd name="connsiteX3" fmla="*/ 6471945 w 6471945"/>
              <a:gd name="connsiteY3" fmla="*/ 5911366 h 5911366"/>
              <a:gd name="connsiteX4" fmla="*/ 7645 w 6471945"/>
              <a:gd name="connsiteY4" fmla="*/ 5911366 h 5911366"/>
              <a:gd name="connsiteX5" fmla="*/ 3287 w 6471945"/>
              <a:gd name="connsiteY5" fmla="*/ 947155 h 5911366"/>
              <a:gd name="connsiteX0" fmla="*/ 0 w 6474134"/>
              <a:gd name="connsiteY0" fmla="*/ 914302 h 5911366"/>
              <a:gd name="connsiteX1" fmla="*/ 2271 w 6474134"/>
              <a:gd name="connsiteY1" fmla="*/ 0 h 5911366"/>
              <a:gd name="connsiteX2" fmla="*/ 6474134 w 6474134"/>
              <a:gd name="connsiteY2" fmla="*/ 21 h 5911366"/>
              <a:gd name="connsiteX3" fmla="*/ 6474134 w 6474134"/>
              <a:gd name="connsiteY3" fmla="*/ 5911366 h 5911366"/>
              <a:gd name="connsiteX4" fmla="*/ 9834 w 6474134"/>
              <a:gd name="connsiteY4" fmla="*/ 5911366 h 5911366"/>
              <a:gd name="connsiteX5" fmla="*/ 0 w 6474134"/>
              <a:gd name="connsiteY5" fmla="*/ 914302 h 5911366"/>
              <a:gd name="connsiteX0" fmla="*/ 8721 w 6471904"/>
              <a:gd name="connsiteY0" fmla="*/ 925253 h 5911366"/>
              <a:gd name="connsiteX1" fmla="*/ 41 w 6471904"/>
              <a:gd name="connsiteY1" fmla="*/ 0 h 5911366"/>
              <a:gd name="connsiteX2" fmla="*/ 6471904 w 6471904"/>
              <a:gd name="connsiteY2" fmla="*/ 21 h 5911366"/>
              <a:gd name="connsiteX3" fmla="*/ 6471904 w 6471904"/>
              <a:gd name="connsiteY3" fmla="*/ 5911366 h 5911366"/>
              <a:gd name="connsiteX4" fmla="*/ 7604 w 6471904"/>
              <a:gd name="connsiteY4" fmla="*/ 5911366 h 5911366"/>
              <a:gd name="connsiteX5" fmla="*/ 8721 w 6471904"/>
              <a:gd name="connsiteY5" fmla="*/ 925253 h 5911366"/>
              <a:gd name="connsiteX0" fmla="*/ 0 w 6473816"/>
              <a:gd name="connsiteY0" fmla="*/ 93588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0 w 6473816"/>
              <a:gd name="connsiteY5" fmla="*/ 935886 h 5911366"/>
              <a:gd name="connsiteX0" fmla="*/ 473219 w 6947035"/>
              <a:gd name="connsiteY0" fmla="*/ 935886 h 5911366"/>
              <a:gd name="connsiteX1" fmla="*/ 475172 w 6947035"/>
              <a:gd name="connsiteY1" fmla="*/ 0 h 5911366"/>
              <a:gd name="connsiteX2" fmla="*/ 6947035 w 6947035"/>
              <a:gd name="connsiteY2" fmla="*/ 21 h 5911366"/>
              <a:gd name="connsiteX3" fmla="*/ 6947035 w 6947035"/>
              <a:gd name="connsiteY3" fmla="*/ 5911366 h 5911366"/>
              <a:gd name="connsiteX4" fmla="*/ 482735 w 6947035"/>
              <a:gd name="connsiteY4" fmla="*/ 5911366 h 5911366"/>
              <a:gd name="connsiteX5" fmla="*/ 470036 w 6947035"/>
              <a:gd name="connsiteY5" fmla="*/ 2732490 h 5911366"/>
              <a:gd name="connsiteX6" fmla="*/ 473219 w 6947035"/>
              <a:gd name="connsiteY6" fmla="*/ 935886 h 5911366"/>
              <a:gd name="connsiteX0" fmla="*/ 472029 w 6945845"/>
              <a:gd name="connsiteY0" fmla="*/ 935886 h 5911366"/>
              <a:gd name="connsiteX1" fmla="*/ 473982 w 6945845"/>
              <a:gd name="connsiteY1" fmla="*/ 0 h 5911366"/>
              <a:gd name="connsiteX2" fmla="*/ 6945845 w 6945845"/>
              <a:gd name="connsiteY2" fmla="*/ 21 h 5911366"/>
              <a:gd name="connsiteX3" fmla="*/ 6945845 w 6945845"/>
              <a:gd name="connsiteY3" fmla="*/ 5911366 h 5911366"/>
              <a:gd name="connsiteX4" fmla="*/ 481545 w 6945845"/>
              <a:gd name="connsiteY4" fmla="*/ 5911366 h 5911366"/>
              <a:gd name="connsiteX5" fmla="*/ 468846 w 6945845"/>
              <a:gd name="connsiteY5" fmla="*/ 2732490 h 5911366"/>
              <a:gd name="connsiteX6" fmla="*/ 472029 w 6945845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8563 w 6482379"/>
              <a:gd name="connsiteY0" fmla="*/ 935886 h 5911366"/>
              <a:gd name="connsiteX1" fmla="*/ 10516 w 6482379"/>
              <a:gd name="connsiteY1" fmla="*/ 0 h 5911366"/>
              <a:gd name="connsiteX2" fmla="*/ 6482379 w 6482379"/>
              <a:gd name="connsiteY2" fmla="*/ 21 h 5911366"/>
              <a:gd name="connsiteX3" fmla="*/ 6482379 w 6482379"/>
              <a:gd name="connsiteY3" fmla="*/ 5911366 h 5911366"/>
              <a:gd name="connsiteX4" fmla="*/ 18079 w 6482379"/>
              <a:gd name="connsiteY4" fmla="*/ 5911366 h 5911366"/>
              <a:gd name="connsiteX5" fmla="*/ 5380 w 6482379"/>
              <a:gd name="connsiteY5" fmla="*/ 2732490 h 5911366"/>
              <a:gd name="connsiteX6" fmla="*/ 64 w 6482379"/>
              <a:gd name="connsiteY6" fmla="*/ 2599583 h 5911366"/>
              <a:gd name="connsiteX7" fmla="*/ 8563 w 6482379"/>
              <a:gd name="connsiteY7" fmla="*/ 935886 h 5911366"/>
              <a:gd name="connsiteX0" fmla="*/ 14065 w 6487881"/>
              <a:gd name="connsiteY0" fmla="*/ 935886 h 5911366"/>
              <a:gd name="connsiteX1" fmla="*/ 16018 w 6487881"/>
              <a:gd name="connsiteY1" fmla="*/ 0 h 5911366"/>
              <a:gd name="connsiteX2" fmla="*/ 6487881 w 6487881"/>
              <a:gd name="connsiteY2" fmla="*/ 21 h 5911366"/>
              <a:gd name="connsiteX3" fmla="*/ 6487881 w 6487881"/>
              <a:gd name="connsiteY3" fmla="*/ 5911366 h 5911366"/>
              <a:gd name="connsiteX4" fmla="*/ 23581 w 6487881"/>
              <a:gd name="connsiteY4" fmla="*/ 5911366 h 5911366"/>
              <a:gd name="connsiteX5" fmla="*/ 10882 w 6487881"/>
              <a:gd name="connsiteY5" fmla="*/ 2732490 h 5911366"/>
              <a:gd name="connsiteX6" fmla="*/ 5566 w 6487881"/>
              <a:gd name="connsiteY6" fmla="*/ 2599583 h 5911366"/>
              <a:gd name="connsiteX7" fmla="*/ 250 w 6487881"/>
              <a:gd name="connsiteY7" fmla="*/ 2067955 h 5911366"/>
              <a:gd name="connsiteX8" fmla="*/ 14065 w 6487881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89335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893356 h 5911366"/>
              <a:gd name="connsiteX0" fmla="*/ 3201 w 6477017"/>
              <a:gd name="connsiteY0" fmla="*/ 893356 h 5911366"/>
              <a:gd name="connsiteX1" fmla="*/ 5154 w 6477017"/>
              <a:gd name="connsiteY1" fmla="*/ 0 h 5911366"/>
              <a:gd name="connsiteX2" fmla="*/ 6477017 w 6477017"/>
              <a:gd name="connsiteY2" fmla="*/ 21 h 5911366"/>
              <a:gd name="connsiteX3" fmla="*/ 6477017 w 6477017"/>
              <a:gd name="connsiteY3" fmla="*/ 5911366 h 5911366"/>
              <a:gd name="connsiteX4" fmla="*/ 12717 w 6477017"/>
              <a:gd name="connsiteY4" fmla="*/ 5911366 h 5911366"/>
              <a:gd name="connsiteX5" fmla="*/ 18 w 6477017"/>
              <a:gd name="connsiteY5" fmla="*/ 2732490 h 5911366"/>
              <a:gd name="connsiteX6" fmla="*/ 382790 w 6477017"/>
              <a:gd name="connsiteY6" fmla="*/ 2487941 h 5911366"/>
              <a:gd name="connsiteX7" fmla="*/ 398739 w 6477017"/>
              <a:gd name="connsiteY7" fmla="*/ 1286462 h 5911366"/>
              <a:gd name="connsiteX8" fmla="*/ 3201 w 6477017"/>
              <a:gd name="connsiteY8" fmla="*/ 893356 h 5911366"/>
              <a:gd name="connsiteX0" fmla="*/ 8517 w 6482333"/>
              <a:gd name="connsiteY0" fmla="*/ 893356 h 5911366"/>
              <a:gd name="connsiteX1" fmla="*/ 10470 w 6482333"/>
              <a:gd name="connsiteY1" fmla="*/ 0 h 5911366"/>
              <a:gd name="connsiteX2" fmla="*/ 6482333 w 6482333"/>
              <a:gd name="connsiteY2" fmla="*/ 21 h 5911366"/>
              <a:gd name="connsiteX3" fmla="*/ 6482333 w 6482333"/>
              <a:gd name="connsiteY3" fmla="*/ 5911366 h 5911366"/>
              <a:gd name="connsiteX4" fmla="*/ 18033 w 6482333"/>
              <a:gd name="connsiteY4" fmla="*/ 5911366 h 5911366"/>
              <a:gd name="connsiteX5" fmla="*/ 17 w 6482333"/>
              <a:gd name="connsiteY5" fmla="*/ 2913244 h 5911366"/>
              <a:gd name="connsiteX6" fmla="*/ 388106 w 6482333"/>
              <a:gd name="connsiteY6" fmla="*/ 2487941 h 5911366"/>
              <a:gd name="connsiteX7" fmla="*/ 404055 w 6482333"/>
              <a:gd name="connsiteY7" fmla="*/ 1286462 h 5911366"/>
              <a:gd name="connsiteX8" fmla="*/ 8517 w 6482333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82316" h="5911366">
                <a:moveTo>
                  <a:pt x="8500" y="893356"/>
                </a:moveTo>
                <a:cubicBezTo>
                  <a:pt x="9256" y="579463"/>
                  <a:pt x="9697" y="313893"/>
                  <a:pt x="10453" y="0"/>
                </a:cubicBezTo>
                <a:lnTo>
                  <a:pt x="6482316" y="21"/>
                </a:lnTo>
                <a:lnTo>
                  <a:pt x="6482316" y="5911366"/>
                </a:lnTo>
                <a:lnTo>
                  <a:pt x="18016" y="5911366"/>
                </a:lnTo>
                <a:cubicBezTo>
                  <a:pt x="12404" y="4865874"/>
                  <a:pt x="6902" y="3554944"/>
                  <a:pt x="0" y="2902611"/>
                </a:cubicBezTo>
                <a:cubicBezTo>
                  <a:pt x="214965" y="2664307"/>
                  <a:pt x="137693" y="2760793"/>
                  <a:pt x="388089" y="2487941"/>
                </a:cubicBezTo>
                <a:cubicBezTo>
                  <a:pt x="386317" y="2377185"/>
                  <a:pt x="402622" y="1563745"/>
                  <a:pt x="404038" y="1286462"/>
                </a:cubicBezTo>
                <a:cubicBezTo>
                  <a:pt x="155589" y="1057025"/>
                  <a:pt x="266370" y="1158271"/>
                  <a:pt x="8500" y="893356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/>
          <a:lstStyle>
            <a:lvl1pPr marL="0" indent="0" algn="ctr">
              <a:buNone/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олилиния 10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6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/>
              <a:t>Подзаголовок слайда</a:t>
            </a:r>
          </a:p>
        </p:txBody>
      </p:sp>
      <p:sp>
        <p:nvSpPr>
          <p:cNvPr id="17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886551" y="1482896"/>
            <a:ext cx="4748292" cy="45337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pic>
        <p:nvPicPr>
          <p:cNvPr id="20" name="Рисунок 27">
            <a:extLst>
              <a:ext uri="{FF2B5EF4-FFF2-40B4-BE49-F238E27FC236}">
                <a16:creationId xmlns:a16="http://schemas.microsoft.com/office/drawing/2014/main" id="{D4ED4F6C-2FB4-4B40-9CAB-879C387472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A32D34D-E729-E045-8BCB-A6939BD95A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607861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773574" y="-5082"/>
            <a:ext cx="8776772" cy="6838343"/>
          </a:xfrm>
          <a:prstGeom prst="rect">
            <a:avLst/>
          </a:prstGeom>
        </p:spPr>
      </p:pic>
      <p:grpSp>
        <p:nvGrpSpPr>
          <p:cNvPr id="7" name="Группа 6"/>
          <p:cNvGrpSpPr/>
          <p:nvPr userDrawn="1"/>
        </p:nvGrpSpPr>
        <p:grpSpPr>
          <a:xfrm>
            <a:off x="9057" y="0"/>
            <a:ext cx="12182943" cy="6868473"/>
            <a:chOff x="9057" y="0"/>
            <a:chExt cx="12182943" cy="6868473"/>
          </a:xfrm>
          <a:solidFill>
            <a:schemeClr val="bg1"/>
          </a:solidFill>
        </p:grpSpPr>
        <p:sp>
          <p:nvSpPr>
            <p:cNvPr id="8" name="Прямоугольник 7"/>
            <p:cNvSpPr/>
            <p:nvPr/>
          </p:nvSpPr>
          <p:spPr>
            <a:xfrm>
              <a:off x="9057" y="1478"/>
              <a:ext cx="6098107" cy="6855043"/>
            </a:xfrm>
            <a:custGeom>
              <a:avLst/>
              <a:gdLst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7858 w 5717858"/>
                <a:gd name="connsiteY2" fmla="*/ 6855043 h 6855043"/>
                <a:gd name="connsiteX3" fmla="*/ 0 w 5717858"/>
                <a:gd name="connsiteY3" fmla="*/ 6855043 h 6855043"/>
                <a:gd name="connsiteX4" fmla="*/ 0 w 5717858"/>
                <a:gd name="connsiteY4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7858 w 5717858"/>
                <a:gd name="connsiteY3" fmla="*/ 6855043 h 6855043"/>
                <a:gd name="connsiteX4" fmla="*/ 0 w 5717858"/>
                <a:gd name="connsiteY4" fmla="*/ 6855043 h 6855043"/>
                <a:gd name="connsiteX5" fmla="*/ 0 w 5717858"/>
                <a:gd name="connsiteY5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7858 w 5717858"/>
                <a:gd name="connsiteY4" fmla="*/ 6855043 h 6855043"/>
                <a:gd name="connsiteX5" fmla="*/ 0 w 5717858"/>
                <a:gd name="connsiteY5" fmla="*/ 6855043 h 6855043"/>
                <a:gd name="connsiteX6" fmla="*/ 0 w 5717858"/>
                <a:gd name="connsiteY6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3067 w 5717858"/>
                <a:gd name="connsiteY4" fmla="*/ 3352181 h 6855043"/>
                <a:gd name="connsiteX5" fmla="*/ 5717858 w 5717858"/>
                <a:gd name="connsiteY5" fmla="*/ 6855043 h 6855043"/>
                <a:gd name="connsiteX6" fmla="*/ 0 w 5717858"/>
                <a:gd name="connsiteY6" fmla="*/ 6855043 h 6855043"/>
                <a:gd name="connsiteX7" fmla="*/ 0 w 5717858"/>
                <a:gd name="connsiteY7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53070"/>
                <a:gd name="connsiteY0" fmla="*/ 0 h 6855043"/>
                <a:gd name="connsiteX1" fmla="*/ 5717858 w 6053070"/>
                <a:gd name="connsiteY1" fmla="*/ 0 h 6855043"/>
                <a:gd name="connsiteX2" fmla="*/ 5714999 w 6053070"/>
                <a:gd name="connsiteY2" fmla="*/ 1391289 h 6855043"/>
                <a:gd name="connsiteX3" fmla="*/ 6053070 w 6053070"/>
                <a:gd name="connsiteY3" fmla="*/ 1971567 h 6855043"/>
                <a:gd name="connsiteX4" fmla="*/ 5710491 w 6053070"/>
                <a:gd name="connsiteY4" fmla="*/ 3027633 h 6855043"/>
                <a:gd name="connsiteX5" fmla="*/ 5713067 w 6053070"/>
                <a:gd name="connsiteY5" fmla="*/ 3352181 h 6855043"/>
                <a:gd name="connsiteX6" fmla="*/ 5717858 w 6053070"/>
                <a:gd name="connsiteY6" fmla="*/ 6855043 h 6855043"/>
                <a:gd name="connsiteX7" fmla="*/ 0 w 6053070"/>
                <a:gd name="connsiteY7" fmla="*/ 6855043 h 6855043"/>
                <a:gd name="connsiteX8" fmla="*/ 0 w 6053070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710491 w 6107161"/>
                <a:gd name="connsiteY4" fmla="*/ 3027633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2069"/>
                <a:gd name="connsiteY0" fmla="*/ 0 h 6855043"/>
                <a:gd name="connsiteX1" fmla="*/ 5717858 w 6112069"/>
                <a:gd name="connsiteY1" fmla="*/ 0 h 6855043"/>
                <a:gd name="connsiteX2" fmla="*/ 5714999 w 6112069"/>
                <a:gd name="connsiteY2" fmla="*/ 1391289 h 6855043"/>
                <a:gd name="connsiteX3" fmla="*/ 6107161 w 6112069"/>
                <a:gd name="connsiteY3" fmla="*/ 1773233 h 6855043"/>
                <a:gd name="connsiteX4" fmla="*/ 5906250 w 6112069"/>
                <a:gd name="connsiteY4" fmla="*/ 2914299 h 6855043"/>
                <a:gd name="connsiteX5" fmla="*/ 5713067 w 6112069"/>
                <a:gd name="connsiteY5" fmla="*/ 3352181 h 6855043"/>
                <a:gd name="connsiteX6" fmla="*/ 5717858 w 6112069"/>
                <a:gd name="connsiteY6" fmla="*/ 6855043 h 6855043"/>
                <a:gd name="connsiteX7" fmla="*/ 0 w 6112069"/>
                <a:gd name="connsiteY7" fmla="*/ 6855043 h 6855043"/>
                <a:gd name="connsiteX8" fmla="*/ 0 w 611206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0968"/>
                <a:gd name="connsiteY0" fmla="*/ 0 h 6855043"/>
                <a:gd name="connsiteX1" fmla="*/ 5717858 w 6110968"/>
                <a:gd name="connsiteY1" fmla="*/ 0 h 6855043"/>
                <a:gd name="connsiteX2" fmla="*/ 5714999 w 6110968"/>
                <a:gd name="connsiteY2" fmla="*/ 1391289 h 6855043"/>
                <a:gd name="connsiteX3" fmla="*/ 6034733 w 6110968"/>
                <a:gd name="connsiteY3" fmla="*/ 1812464 h 6855043"/>
                <a:gd name="connsiteX4" fmla="*/ 6096858 w 6110968"/>
                <a:gd name="connsiteY4" fmla="*/ 2970966 h 6855043"/>
                <a:gd name="connsiteX5" fmla="*/ 5713067 w 6110968"/>
                <a:gd name="connsiteY5" fmla="*/ 3352181 h 6855043"/>
                <a:gd name="connsiteX6" fmla="*/ 5717858 w 6110968"/>
                <a:gd name="connsiteY6" fmla="*/ 6855043 h 6855043"/>
                <a:gd name="connsiteX7" fmla="*/ 0 w 6110968"/>
                <a:gd name="connsiteY7" fmla="*/ 6855043 h 6855043"/>
                <a:gd name="connsiteX8" fmla="*/ 0 w 6110968"/>
                <a:gd name="connsiteY8" fmla="*/ 0 h 6855043"/>
                <a:gd name="connsiteX0" fmla="*/ 0 w 6125537"/>
                <a:gd name="connsiteY0" fmla="*/ 0 h 6855043"/>
                <a:gd name="connsiteX1" fmla="*/ 5717858 w 6125537"/>
                <a:gd name="connsiteY1" fmla="*/ 0 h 6855043"/>
                <a:gd name="connsiteX2" fmla="*/ 5714999 w 6125537"/>
                <a:gd name="connsiteY2" fmla="*/ 1391289 h 6855043"/>
                <a:gd name="connsiteX3" fmla="*/ 6098107 w 6125537"/>
                <a:gd name="connsiteY3" fmla="*/ 1770215 h 6855043"/>
                <a:gd name="connsiteX4" fmla="*/ 6096858 w 6125537"/>
                <a:gd name="connsiteY4" fmla="*/ 2970966 h 6855043"/>
                <a:gd name="connsiteX5" fmla="*/ 5713067 w 6125537"/>
                <a:gd name="connsiteY5" fmla="*/ 3352181 h 6855043"/>
                <a:gd name="connsiteX6" fmla="*/ 5717858 w 6125537"/>
                <a:gd name="connsiteY6" fmla="*/ 6855043 h 6855043"/>
                <a:gd name="connsiteX7" fmla="*/ 0 w 6125537"/>
                <a:gd name="connsiteY7" fmla="*/ 6855043 h 6855043"/>
                <a:gd name="connsiteX8" fmla="*/ 0 w 612553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5936913 w 6098107"/>
                <a:gd name="connsiteY4" fmla="*/ 2983038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119069"/>
                <a:gd name="connsiteY0" fmla="*/ 0 h 6855043"/>
                <a:gd name="connsiteX1" fmla="*/ 5717858 w 6119069"/>
                <a:gd name="connsiteY1" fmla="*/ 0 h 6855043"/>
                <a:gd name="connsiteX2" fmla="*/ 5714999 w 6119069"/>
                <a:gd name="connsiteY2" fmla="*/ 1391289 h 6855043"/>
                <a:gd name="connsiteX3" fmla="*/ 6098107 w 6119069"/>
                <a:gd name="connsiteY3" fmla="*/ 1770215 h 6855043"/>
                <a:gd name="connsiteX4" fmla="*/ 6087804 w 6119069"/>
                <a:gd name="connsiteY4" fmla="*/ 2964931 h 6855043"/>
                <a:gd name="connsiteX5" fmla="*/ 5713067 w 6119069"/>
                <a:gd name="connsiteY5" fmla="*/ 3352181 h 6855043"/>
                <a:gd name="connsiteX6" fmla="*/ 5717858 w 6119069"/>
                <a:gd name="connsiteY6" fmla="*/ 6855043 h 6855043"/>
                <a:gd name="connsiteX7" fmla="*/ 0 w 6119069"/>
                <a:gd name="connsiteY7" fmla="*/ 6855043 h 6855043"/>
                <a:gd name="connsiteX8" fmla="*/ 0 w 6119069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73985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98107" h="6855043">
                  <a:moveTo>
                    <a:pt x="0" y="0"/>
                  </a:moveTo>
                  <a:lnTo>
                    <a:pt x="5717858" y="0"/>
                  </a:lnTo>
                  <a:lnTo>
                    <a:pt x="5714999" y="1391289"/>
                  </a:lnTo>
                  <a:lnTo>
                    <a:pt x="6098107" y="1770215"/>
                  </a:lnTo>
                  <a:cubicBezTo>
                    <a:pt x="6097356" y="2042939"/>
                    <a:pt x="6094320" y="2706021"/>
                    <a:pt x="6087804" y="2973985"/>
                  </a:cubicBezTo>
                  <a:cubicBezTo>
                    <a:pt x="6087512" y="2985992"/>
                    <a:pt x="5904491" y="3165556"/>
                    <a:pt x="5713067" y="3352181"/>
                  </a:cubicBezTo>
                  <a:cubicBezTo>
                    <a:pt x="5711481" y="3806821"/>
                    <a:pt x="5716261" y="5687422"/>
                    <a:pt x="5717858" y="6855043"/>
                  </a:cubicBezTo>
                  <a:lnTo>
                    <a:pt x="0" y="6855043"/>
                  </a:lnTo>
                  <a:lnTo>
                    <a:pt x="0" y="0"/>
                  </a:lnTo>
                  <a:close/>
                </a:path>
              </a:pathLst>
            </a:custGeom>
          </p:spPr>
          <p:txBody>
            <a:bodyPr/>
            <a:lstStyle/>
            <a:p>
              <a:pPr lvl="0" indent="0">
                <a:lnSpc>
                  <a:spcPts val="3420"/>
                </a:lnSpc>
                <a:spcBef>
                  <a:spcPts val="0"/>
                </a:spcBef>
                <a:buFont typeface="Arial" panose="020B0604020202020204" pitchFamily="34" charset="0"/>
                <a:buNone/>
              </a:pPr>
              <a:endParaRPr lang="ru-RU" sz="4400" b="1" i="0" spc="-150" baseline="0" dirty="0">
                <a:solidFill>
                  <a:schemeClr val="tx1"/>
                </a:solidFill>
                <a:latin typeface="Arial Narrow" panose="020B0604020202020204" pitchFamily="34" charset="0"/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4939469" y="0"/>
              <a:ext cx="7252531" cy="478564"/>
            </a:xfrm>
            <a:prstGeom prst="rect">
              <a:avLst/>
            </a:prstGeom>
          </p:spPr>
          <p:txBody>
            <a:bodyPr/>
            <a:lstStyle/>
            <a:p>
              <a:pPr lvl="0" indent="0">
                <a:lnSpc>
                  <a:spcPts val="3420"/>
                </a:lnSpc>
                <a:spcBef>
                  <a:spcPts val="0"/>
                </a:spcBef>
                <a:buFont typeface="Arial" panose="020B0604020202020204" pitchFamily="34" charset="0"/>
                <a:buNone/>
              </a:pPr>
              <a:endParaRPr lang="ru-RU" sz="4400" b="1" i="0" spc="-150" baseline="0" dirty="0">
                <a:solidFill>
                  <a:schemeClr val="tx1"/>
                </a:solidFill>
                <a:latin typeface="Arial Narrow" panose="020B0604020202020204" pitchFamily="34" charset="0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4939469" y="6389909"/>
              <a:ext cx="7252531" cy="478564"/>
            </a:xfrm>
            <a:prstGeom prst="rect">
              <a:avLst/>
            </a:prstGeom>
          </p:spPr>
          <p:txBody>
            <a:bodyPr/>
            <a:lstStyle/>
            <a:p>
              <a:pPr lvl="0" indent="0">
                <a:lnSpc>
                  <a:spcPts val="3420"/>
                </a:lnSpc>
                <a:spcBef>
                  <a:spcPts val="0"/>
                </a:spcBef>
                <a:buFont typeface="Arial" panose="020B0604020202020204" pitchFamily="34" charset="0"/>
                <a:buNone/>
              </a:pPr>
              <a:endParaRPr lang="ru-RU" sz="4400" b="1" i="0" spc="-150" baseline="0" dirty="0">
                <a:solidFill>
                  <a:schemeClr val="tx1"/>
                </a:solidFill>
                <a:latin typeface="Arial Narrow" panose="020B0604020202020204" pitchFamily="34" charset="0"/>
              </a:endParaRPr>
            </a:p>
          </p:txBody>
        </p:sp>
      </p:grpSp>
      <p:sp>
        <p:nvSpPr>
          <p:cNvPr id="15" name="Прямоугольник 7">
            <a:extLst>
              <a:ext uri="{FF2B5EF4-FFF2-40B4-BE49-F238E27FC236}">
                <a16:creationId xmlns:a16="http://schemas.microsoft.com/office/drawing/2014/main" id="{063797B1-EB10-F34A-A2E7-5DB65DBA7000}"/>
              </a:ext>
            </a:extLst>
          </p:cNvPr>
          <p:cNvSpPr/>
          <p:nvPr userDrawn="1"/>
        </p:nvSpPr>
        <p:spPr>
          <a:xfrm>
            <a:off x="9057" y="0"/>
            <a:ext cx="6098107" cy="6855043"/>
          </a:xfrm>
          <a:custGeom>
            <a:avLst/>
            <a:gdLst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7858 w 5717858"/>
              <a:gd name="connsiteY2" fmla="*/ 6855043 h 6855043"/>
              <a:gd name="connsiteX3" fmla="*/ 0 w 5717858"/>
              <a:gd name="connsiteY3" fmla="*/ 6855043 h 6855043"/>
              <a:gd name="connsiteX4" fmla="*/ 0 w 5717858"/>
              <a:gd name="connsiteY4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7858 w 5717858"/>
              <a:gd name="connsiteY3" fmla="*/ 6855043 h 6855043"/>
              <a:gd name="connsiteX4" fmla="*/ 0 w 5717858"/>
              <a:gd name="connsiteY4" fmla="*/ 6855043 h 6855043"/>
              <a:gd name="connsiteX5" fmla="*/ 0 w 5717858"/>
              <a:gd name="connsiteY5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7858 w 5717858"/>
              <a:gd name="connsiteY4" fmla="*/ 6855043 h 6855043"/>
              <a:gd name="connsiteX5" fmla="*/ 0 w 5717858"/>
              <a:gd name="connsiteY5" fmla="*/ 6855043 h 6855043"/>
              <a:gd name="connsiteX6" fmla="*/ 0 w 5717858"/>
              <a:gd name="connsiteY6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3067 w 5717858"/>
              <a:gd name="connsiteY4" fmla="*/ 3352181 h 6855043"/>
              <a:gd name="connsiteX5" fmla="*/ 5717858 w 5717858"/>
              <a:gd name="connsiteY5" fmla="*/ 6855043 h 6855043"/>
              <a:gd name="connsiteX6" fmla="*/ 0 w 5717858"/>
              <a:gd name="connsiteY6" fmla="*/ 6855043 h 6855043"/>
              <a:gd name="connsiteX7" fmla="*/ 0 w 5717858"/>
              <a:gd name="connsiteY7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0491 w 5717858"/>
              <a:gd name="connsiteY4" fmla="*/ 3027633 h 6855043"/>
              <a:gd name="connsiteX5" fmla="*/ 5713067 w 5717858"/>
              <a:gd name="connsiteY5" fmla="*/ 3352181 h 6855043"/>
              <a:gd name="connsiteX6" fmla="*/ 5717858 w 5717858"/>
              <a:gd name="connsiteY6" fmla="*/ 6855043 h 6855043"/>
              <a:gd name="connsiteX7" fmla="*/ 0 w 5717858"/>
              <a:gd name="connsiteY7" fmla="*/ 6855043 h 6855043"/>
              <a:gd name="connsiteX8" fmla="*/ 0 w 5717858"/>
              <a:gd name="connsiteY8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0491 w 5717858"/>
              <a:gd name="connsiteY4" fmla="*/ 3027633 h 6855043"/>
              <a:gd name="connsiteX5" fmla="*/ 5713067 w 5717858"/>
              <a:gd name="connsiteY5" fmla="*/ 3352181 h 6855043"/>
              <a:gd name="connsiteX6" fmla="*/ 5717858 w 5717858"/>
              <a:gd name="connsiteY6" fmla="*/ 6855043 h 6855043"/>
              <a:gd name="connsiteX7" fmla="*/ 0 w 5717858"/>
              <a:gd name="connsiteY7" fmla="*/ 6855043 h 6855043"/>
              <a:gd name="connsiteX8" fmla="*/ 0 w 5717858"/>
              <a:gd name="connsiteY8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0491 w 5717858"/>
              <a:gd name="connsiteY4" fmla="*/ 3027633 h 6855043"/>
              <a:gd name="connsiteX5" fmla="*/ 5713067 w 5717858"/>
              <a:gd name="connsiteY5" fmla="*/ 3352181 h 6855043"/>
              <a:gd name="connsiteX6" fmla="*/ 5717858 w 5717858"/>
              <a:gd name="connsiteY6" fmla="*/ 6855043 h 6855043"/>
              <a:gd name="connsiteX7" fmla="*/ 0 w 5717858"/>
              <a:gd name="connsiteY7" fmla="*/ 6855043 h 6855043"/>
              <a:gd name="connsiteX8" fmla="*/ 0 w 5717858"/>
              <a:gd name="connsiteY8" fmla="*/ 0 h 6855043"/>
              <a:gd name="connsiteX0" fmla="*/ 0 w 6017009"/>
              <a:gd name="connsiteY0" fmla="*/ 0 h 6855043"/>
              <a:gd name="connsiteX1" fmla="*/ 5717858 w 6017009"/>
              <a:gd name="connsiteY1" fmla="*/ 0 h 6855043"/>
              <a:gd name="connsiteX2" fmla="*/ 5714999 w 6017009"/>
              <a:gd name="connsiteY2" fmla="*/ 1391289 h 6855043"/>
              <a:gd name="connsiteX3" fmla="*/ 6017009 w 6017009"/>
              <a:gd name="connsiteY3" fmla="*/ 1999900 h 6855043"/>
              <a:gd name="connsiteX4" fmla="*/ 5710491 w 6017009"/>
              <a:gd name="connsiteY4" fmla="*/ 3027633 h 6855043"/>
              <a:gd name="connsiteX5" fmla="*/ 5713067 w 6017009"/>
              <a:gd name="connsiteY5" fmla="*/ 3352181 h 6855043"/>
              <a:gd name="connsiteX6" fmla="*/ 5717858 w 6017009"/>
              <a:gd name="connsiteY6" fmla="*/ 6855043 h 6855043"/>
              <a:gd name="connsiteX7" fmla="*/ 0 w 6017009"/>
              <a:gd name="connsiteY7" fmla="*/ 6855043 h 6855043"/>
              <a:gd name="connsiteX8" fmla="*/ 0 w 6017009"/>
              <a:gd name="connsiteY8" fmla="*/ 0 h 6855043"/>
              <a:gd name="connsiteX0" fmla="*/ 0 w 6017009"/>
              <a:gd name="connsiteY0" fmla="*/ 0 h 6855043"/>
              <a:gd name="connsiteX1" fmla="*/ 5717858 w 6017009"/>
              <a:gd name="connsiteY1" fmla="*/ 0 h 6855043"/>
              <a:gd name="connsiteX2" fmla="*/ 5714999 w 6017009"/>
              <a:gd name="connsiteY2" fmla="*/ 1391289 h 6855043"/>
              <a:gd name="connsiteX3" fmla="*/ 6017009 w 6017009"/>
              <a:gd name="connsiteY3" fmla="*/ 1999900 h 6855043"/>
              <a:gd name="connsiteX4" fmla="*/ 5710491 w 6017009"/>
              <a:gd name="connsiteY4" fmla="*/ 3027633 h 6855043"/>
              <a:gd name="connsiteX5" fmla="*/ 5713067 w 6017009"/>
              <a:gd name="connsiteY5" fmla="*/ 3352181 h 6855043"/>
              <a:gd name="connsiteX6" fmla="*/ 5717858 w 6017009"/>
              <a:gd name="connsiteY6" fmla="*/ 6855043 h 6855043"/>
              <a:gd name="connsiteX7" fmla="*/ 0 w 6017009"/>
              <a:gd name="connsiteY7" fmla="*/ 6855043 h 6855043"/>
              <a:gd name="connsiteX8" fmla="*/ 0 w 6017009"/>
              <a:gd name="connsiteY8" fmla="*/ 0 h 6855043"/>
              <a:gd name="connsiteX0" fmla="*/ 0 w 6053070"/>
              <a:gd name="connsiteY0" fmla="*/ 0 h 6855043"/>
              <a:gd name="connsiteX1" fmla="*/ 5717858 w 6053070"/>
              <a:gd name="connsiteY1" fmla="*/ 0 h 6855043"/>
              <a:gd name="connsiteX2" fmla="*/ 5714999 w 6053070"/>
              <a:gd name="connsiteY2" fmla="*/ 1391289 h 6855043"/>
              <a:gd name="connsiteX3" fmla="*/ 6053070 w 6053070"/>
              <a:gd name="connsiteY3" fmla="*/ 1971567 h 6855043"/>
              <a:gd name="connsiteX4" fmla="*/ 5710491 w 6053070"/>
              <a:gd name="connsiteY4" fmla="*/ 3027633 h 6855043"/>
              <a:gd name="connsiteX5" fmla="*/ 5713067 w 6053070"/>
              <a:gd name="connsiteY5" fmla="*/ 3352181 h 6855043"/>
              <a:gd name="connsiteX6" fmla="*/ 5717858 w 6053070"/>
              <a:gd name="connsiteY6" fmla="*/ 6855043 h 6855043"/>
              <a:gd name="connsiteX7" fmla="*/ 0 w 6053070"/>
              <a:gd name="connsiteY7" fmla="*/ 6855043 h 6855043"/>
              <a:gd name="connsiteX8" fmla="*/ 0 w 6053070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5710491 w 6107161"/>
              <a:gd name="connsiteY4" fmla="*/ 3027633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27029"/>
              <a:gd name="connsiteY0" fmla="*/ 0 h 6855043"/>
              <a:gd name="connsiteX1" fmla="*/ 5717858 w 6127029"/>
              <a:gd name="connsiteY1" fmla="*/ 0 h 6855043"/>
              <a:gd name="connsiteX2" fmla="*/ 5714999 w 6127029"/>
              <a:gd name="connsiteY2" fmla="*/ 1391289 h 6855043"/>
              <a:gd name="connsiteX3" fmla="*/ 6107161 w 6127029"/>
              <a:gd name="connsiteY3" fmla="*/ 1773233 h 6855043"/>
              <a:gd name="connsiteX4" fmla="*/ 6094282 w 6127029"/>
              <a:gd name="connsiteY4" fmla="*/ 2978693 h 6855043"/>
              <a:gd name="connsiteX5" fmla="*/ 5713067 w 6127029"/>
              <a:gd name="connsiteY5" fmla="*/ 3352181 h 6855043"/>
              <a:gd name="connsiteX6" fmla="*/ 5717858 w 6127029"/>
              <a:gd name="connsiteY6" fmla="*/ 6855043 h 6855043"/>
              <a:gd name="connsiteX7" fmla="*/ 0 w 6127029"/>
              <a:gd name="connsiteY7" fmla="*/ 6855043 h 6855043"/>
              <a:gd name="connsiteX8" fmla="*/ 0 w 6127029"/>
              <a:gd name="connsiteY8" fmla="*/ 0 h 6855043"/>
              <a:gd name="connsiteX0" fmla="*/ 0 w 6127029"/>
              <a:gd name="connsiteY0" fmla="*/ 0 h 6855043"/>
              <a:gd name="connsiteX1" fmla="*/ 5717858 w 6127029"/>
              <a:gd name="connsiteY1" fmla="*/ 0 h 6855043"/>
              <a:gd name="connsiteX2" fmla="*/ 5714999 w 6127029"/>
              <a:gd name="connsiteY2" fmla="*/ 1391289 h 6855043"/>
              <a:gd name="connsiteX3" fmla="*/ 6107161 w 6127029"/>
              <a:gd name="connsiteY3" fmla="*/ 1773233 h 6855043"/>
              <a:gd name="connsiteX4" fmla="*/ 6094282 w 6127029"/>
              <a:gd name="connsiteY4" fmla="*/ 2978693 h 6855043"/>
              <a:gd name="connsiteX5" fmla="*/ 5713067 w 6127029"/>
              <a:gd name="connsiteY5" fmla="*/ 3352181 h 6855043"/>
              <a:gd name="connsiteX6" fmla="*/ 5717858 w 6127029"/>
              <a:gd name="connsiteY6" fmla="*/ 6855043 h 6855043"/>
              <a:gd name="connsiteX7" fmla="*/ 0 w 6127029"/>
              <a:gd name="connsiteY7" fmla="*/ 6855043 h 6855043"/>
              <a:gd name="connsiteX8" fmla="*/ 0 w 6127029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5906250 w 6107161"/>
              <a:gd name="connsiteY4" fmla="*/ 2914299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12069"/>
              <a:gd name="connsiteY0" fmla="*/ 0 h 6855043"/>
              <a:gd name="connsiteX1" fmla="*/ 5717858 w 6112069"/>
              <a:gd name="connsiteY1" fmla="*/ 0 h 6855043"/>
              <a:gd name="connsiteX2" fmla="*/ 5714999 w 6112069"/>
              <a:gd name="connsiteY2" fmla="*/ 1391289 h 6855043"/>
              <a:gd name="connsiteX3" fmla="*/ 6107161 w 6112069"/>
              <a:gd name="connsiteY3" fmla="*/ 1773233 h 6855043"/>
              <a:gd name="connsiteX4" fmla="*/ 5906250 w 6112069"/>
              <a:gd name="connsiteY4" fmla="*/ 2914299 h 6855043"/>
              <a:gd name="connsiteX5" fmla="*/ 5713067 w 6112069"/>
              <a:gd name="connsiteY5" fmla="*/ 3352181 h 6855043"/>
              <a:gd name="connsiteX6" fmla="*/ 5717858 w 6112069"/>
              <a:gd name="connsiteY6" fmla="*/ 6855043 h 6855043"/>
              <a:gd name="connsiteX7" fmla="*/ 0 w 6112069"/>
              <a:gd name="connsiteY7" fmla="*/ 6855043 h 6855043"/>
              <a:gd name="connsiteX8" fmla="*/ 0 w 6112069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5906250 w 6107161"/>
              <a:gd name="connsiteY4" fmla="*/ 2914299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6096858 w 6107161"/>
              <a:gd name="connsiteY4" fmla="*/ 2970966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6096858 w 6107161"/>
              <a:gd name="connsiteY4" fmla="*/ 2970966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6096858 w 6107161"/>
              <a:gd name="connsiteY4" fmla="*/ 2970966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10968"/>
              <a:gd name="connsiteY0" fmla="*/ 0 h 6855043"/>
              <a:gd name="connsiteX1" fmla="*/ 5717858 w 6110968"/>
              <a:gd name="connsiteY1" fmla="*/ 0 h 6855043"/>
              <a:gd name="connsiteX2" fmla="*/ 5714999 w 6110968"/>
              <a:gd name="connsiteY2" fmla="*/ 1391289 h 6855043"/>
              <a:gd name="connsiteX3" fmla="*/ 6034733 w 6110968"/>
              <a:gd name="connsiteY3" fmla="*/ 1812464 h 6855043"/>
              <a:gd name="connsiteX4" fmla="*/ 6096858 w 6110968"/>
              <a:gd name="connsiteY4" fmla="*/ 2970966 h 6855043"/>
              <a:gd name="connsiteX5" fmla="*/ 5713067 w 6110968"/>
              <a:gd name="connsiteY5" fmla="*/ 3352181 h 6855043"/>
              <a:gd name="connsiteX6" fmla="*/ 5717858 w 6110968"/>
              <a:gd name="connsiteY6" fmla="*/ 6855043 h 6855043"/>
              <a:gd name="connsiteX7" fmla="*/ 0 w 6110968"/>
              <a:gd name="connsiteY7" fmla="*/ 6855043 h 6855043"/>
              <a:gd name="connsiteX8" fmla="*/ 0 w 6110968"/>
              <a:gd name="connsiteY8" fmla="*/ 0 h 6855043"/>
              <a:gd name="connsiteX0" fmla="*/ 0 w 6125537"/>
              <a:gd name="connsiteY0" fmla="*/ 0 h 6855043"/>
              <a:gd name="connsiteX1" fmla="*/ 5717858 w 6125537"/>
              <a:gd name="connsiteY1" fmla="*/ 0 h 6855043"/>
              <a:gd name="connsiteX2" fmla="*/ 5714999 w 6125537"/>
              <a:gd name="connsiteY2" fmla="*/ 1391289 h 6855043"/>
              <a:gd name="connsiteX3" fmla="*/ 6098107 w 6125537"/>
              <a:gd name="connsiteY3" fmla="*/ 1770215 h 6855043"/>
              <a:gd name="connsiteX4" fmla="*/ 6096858 w 6125537"/>
              <a:gd name="connsiteY4" fmla="*/ 2970966 h 6855043"/>
              <a:gd name="connsiteX5" fmla="*/ 5713067 w 6125537"/>
              <a:gd name="connsiteY5" fmla="*/ 3352181 h 6855043"/>
              <a:gd name="connsiteX6" fmla="*/ 5717858 w 6125537"/>
              <a:gd name="connsiteY6" fmla="*/ 6855043 h 6855043"/>
              <a:gd name="connsiteX7" fmla="*/ 0 w 6125537"/>
              <a:gd name="connsiteY7" fmla="*/ 6855043 h 6855043"/>
              <a:gd name="connsiteX8" fmla="*/ 0 w 612553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5936913 w 6098107"/>
              <a:gd name="connsiteY4" fmla="*/ 2983038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119069"/>
              <a:gd name="connsiteY0" fmla="*/ 0 h 6855043"/>
              <a:gd name="connsiteX1" fmla="*/ 5717858 w 6119069"/>
              <a:gd name="connsiteY1" fmla="*/ 0 h 6855043"/>
              <a:gd name="connsiteX2" fmla="*/ 5714999 w 6119069"/>
              <a:gd name="connsiteY2" fmla="*/ 1391289 h 6855043"/>
              <a:gd name="connsiteX3" fmla="*/ 6098107 w 6119069"/>
              <a:gd name="connsiteY3" fmla="*/ 1770215 h 6855043"/>
              <a:gd name="connsiteX4" fmla="*/ 6087804 w 6119069"/>
              <a:gd name="connsiteY4" fmla="*/ 2964931 h 6855043"/>
              <a:gd name="connsiteX5" fmla="*/ 5713067 w 6119069"/>
              <a:gd name="connsiteY5" fmla="*/ 3352181 h 6855043"/>
              <a:gd name="connsiteX6" fmla="*/ 5717858 w 6119069"/>
              <a:gd name="connsiteY6" fmla="*/ 6855043 h 6855043"/>
              <a:gd name="connsiteX7" fmla="*/ 0 w 6119069"/>
              <a:gd name="connsiteY7" fmla="*/ 6855043 h 6855043"/>
              <a:gd name="connsiteX8" fmla="*/ 0 w 6119069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73985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8107" h="6855043">
                <a:moveTo>
                  <a:pt x="0" y="0"/>
                </a:moveTo>
                <a:lnTo>
                  <a:pt x="5717858" y="0"/>
                </a:lnTo>
                <a:lnTo>
                  <a:pt x="5714999" y="1391289"/>
                </a:lnTo>
                <a:lnTo>
                  <a:pt x="6098107" y="1770215"/>
                </a:lnTo>
                <a:cubicBezTo>
                  <a:pt x="6097356" y="2042939"/>
                  <a:pt x="6094320" y="2706021"/>
                  <a:pt x="6087804" y="2973985"/>
                </a:cubicBezTo>
                <a:cubicBezTo>
                  <a:pt x="6087512" y="2985992"/>
                  <a:pt x="5904491" y="3165556"/>
                  <a:pt x="5713067" y="3352181"/>
                </a:cubicBezTo>
                <a:cubicBezTo>
                  <a:pt x="5711481" y="3806821"/>
                  <a:pt x="5716261" y="5687422"/>
                  <a:pt x="5717858" y="6855043"/>
                </a:cubicBezTo>
                <a:lnTo>
                  <a:pt x="0" y="68550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27">
            <a:extLst>
              <a:ext uri="{FF2B5EF4-FFF2-40B4-BE49-F238E27FC236}">
                <a16:creationId xmlns:a16="http://schemas.microsoft.com/office/drawing/2014/main" id="{3BBF6582-C11D-E34E-90F5-C70B50A0BCC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18444" y="5834587"/>
            <a:ext cx="1995565" cy="552266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AB10D7-BB2F-D045-8F6F-0E66C09E55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8444" y="3635593"/>
            <a:ext cx="4064707" cy="1169284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000"/>
              </a:lnSpc>
              <a:buNone/>
              <a:defRPr sz="3200" b="1" i="0">
                <a:latin typeface="Arial Narrow" panose="020B0604020202020204" pitchFamily="34" charset="0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ru-RU" dirty="0"/>
              <a:t>Пример подзаголовка не более трех строк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E23BFD-8644-604D-AD82-9E3363BE2D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8444" y="1680310"/>
            <a:ext cx="5046015" cy="11692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00"/>
              </a:lnSpc>
              <a:buNone/>
              <a:defRPr sz="40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ПРИМЕР ЗАГОЛОВКА НЕ БОЛЕЕ ДВУХ СТРОК</a:t>
            </a:r>
          </a:p>
        </p:txBody>
      </p:sp>
    </p:spTree>
    <p:extLst>
      <p:ext uri="{BB962C8B-B14F-4D97-AF65-F5344CB8AC3E}">
        <p14:creationId xmlns:p14="http://schemas.microsoft.com/office/powerpoint/2010/main" val="1021187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Прямая соединительная линия 18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олилиния 19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25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2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886550" y="1482896"/>
            <a:ext cx="7471637" cy="45337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8" name="Рисунок 12"/>
          <p:cNvSpPr>
            <a:spLocks noGrp="1"/>
          </p:cNvSpPr>
          <p:nvPr>
            <p:ph type="pic" sz="quarter" idx="14" hasCustomPrompt="1"/>
          </p:nvPr>
        </p:nvSpPr>
        <p:spPr>
          <a:xfrm>
            <a:off x="8667195" y="482943"/>
            <a:ext cx="3548618" cy="5917857"/>
          </a:xfrm>
          <a:custGeom>
            <a:avLst/>
            <a:gdLst>
              <a:gd name="connsiteX0" fmla="*/ 0 w 6464300"/>
              <a:gd name="connsiteY0" fmla="*/ 0 h 5911345"/>
              <a:gd name="connsiteX1" fmla="*/ 6464300 w 6464300"/>
              <a:gd name="connsiteY1" fmla="*/ 0 h 5911345"/>
              <a:gd name="connsiteX2" fmla="*/ 6464300 w 6464300"/>
              <a:gd name="connsiteY2" fmla="*/ 5911345 h 5911345"/>
              <a:gd name="connsiteX3" fmla="*/ 0 w 6464300"/>
              <a:gd name="connsiteY3" fmla="*/ 5911345 h 5911345"/>
              <a:gd name="connsiteX4" fmla="*/ 0 w 6464300"/>
              <a:gd name="connsiteY4" fmla="*/ 0 h 5911345"/>
              <a:gd name="connsiteX0" fmla="*/ 0 w 6464300"/>
              <a:gd name="connsiteY0" fmla="*/ 16448 h 5927793"/>
              <a:gd name="connsiteX1" fmla="*/ 14339 w 6464300"/>
              <a:gd name="connsiteY1" fmla="*/ 0 h 5927793"/>
              <a:gd name="connsiteX2" fmla="*/ 6464300 w 6464300"/>
              <a:gd name="connsiteY2" fmla="*/ 16448 h 5927793"/>
              <a:gd name="connsiteX3" fmla="*/ 6464300 w 6464300"/>
              <a:gd name="connsiteY3" fmla="*/ 5927793 h 5927793"/>
              <a:gd name="connsiteX4" fmla="*/ 0 w 6464300"/>
              <a:gd name="connsiteY4" fmla="*/ 5927793 h 5927793"/>
              <a:gd name="connsiteX5" fmla="*/ 0 w 6464300"/>
              <a:gd name="connsiteY5" fmla="*/ 16448 h 5927793"/>
              <a:gd name="connsiteX0" fmla="*/ 0 w 6474132"/>
              <a:gd name="connsiteY0" fmla="*/ 980009 h 5927793"/>
              <a:gd name="connsiteX1" fmla="*/ 24171 w 6474132"/>
              <a:gd name="connsiteY1" fmla="*/ 0 h 5927793"/>
              <a:gd name="connsiteX2" fmla="*/ 6474132 w 6474132"/>
              <a:gd name="connsiteY2" fmla="*/ 16448 h 5927793"/>
              <a:gd name="connsiteX3" fmla="*/ 6474132 w 6474132"/>
              <a:gd name="connsiteY3" fmla="*/ 5927793 h 5927793"/>
              <a:gd name="connsiteX4" fmla="*/ 9832 w 6474132"/>
              <a:gd name="connsiteY4" fmla="*/ 5927793 h 5927793"/>
              <a:gd name="connsiteX5" fmla="*/ 0 w 6474132"/>
              <a:gd name="connsiteY5" fmla="*/ 980009 h 5927793"/>
              <a:gd name="connsiteX0" fmla="*/ 0 w 6474132"/>
              <a:gd name="connsiteY0" fmla="*/ 963561 h 5911345"/>
              <a:gd name="connsiteX1" fmla="*/ 2269 w 6474132"/>
              <a:gd name="connsiteY1" fmla="*/ 21881 h 5911345"/>
              <a:gd name="connsiteX2" fmla="*/ 6474132 w 6474132"/>
              <a:gd name="connsiteY2" fmla="*/ 0 h 5911345"/>
              <a:gd name="connsiteX3" fmla="*/ 6474132 w 6474132"/>
              <a:gd name="connsiteY3" fmla="*/ 5911345 h 5911345"/>
              <a:gd name="connsiteX4" fmla="*/ 9832 w 6474132"/>
              <a:gd name="connsiteY4" fmla="*/ 5911345 h 5911345"/>
              <a:gd name="connsiteX5" fmla="*/ 0 w 6474132"/>
              <a:gd name="connsiteY5" fmla="*/ 963561 h 5911345"/>
              <a:gd name="connsiteX0" fmla="*/ 0 w 6474132"/>
              <a:gd name="connsiteY0" fmla="*/ 963582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63582 h 5911366"/>
              <a:gd name="connsiteX0" fmla="*/ 0 w 6474132"/>
              <a:gd name="connsiteY0" fmla="*/ 930729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30729 h 5911366"/>
              <a:gd name="connsiteX0" fmla="*/ 0 w 6474132"/>
              <a:gd name="connsiteY0" fmla="*/ 908827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08827 h 5911366"/>
              <a:gd name="connsiteX0" fmla="*/ 14184 w 6471890"/>
              <a:gd name="connsiteY0" fmla="*/ 930729 h 5911366"/>
              <a:gd name="connsiteX1" fmla="*/ 27 w 6471890"/>
              <a:gd name="connsiteY1" fmla="*/ 0 h 5911366"/>
              <a:gd name="connsiteX2" fmla="*/ 6471890 w 6471890"/>
              <a:gd name="connsiteY2" fmla="*/ 21 h 5911366"/>
              <a:gd name="connsiteX3" fmla="*/ 6471890 w 6471890"/>
              <a:gd name="connsiteY3" fmla="*/ 5911366 h 5911366"/>
              <a:gd name="connsiteX4" fmla="*/ 7590 w 6471890"/>
              <a:gd name="connsiteY4" fmla="*/ 5911366 h 5911366"/>
              <a:gd name="connsiteX5" fmla="*/ 14184 w 6471890"/>
              <a:gd name="connsiteY5" fmla="*/ 930729 h 5911366"/>
              <a:gd name="connsiteX0" fmla="*/ 68918 w 6471870"/>
              <a:gd name="connsiteY0" fmla="*/ 919778 h 5911366"/>
              <a:gd name="connsiteX1" fmla="*/ 7 w 6471870"/>
              <a:gd name="connsiteY1" fmla="*/ 0 h 5911366"/>
              <a:gd name="connsiteX2" fmla="*/ 6471870 w 6471870"/>
              <a:gd name="connsiteY2" fmla="*/ 21 h 5911366"/>
              <a:gd name="connsiteX3" fmla="*/ 6471870 w 6471870"/>
              <a:gd name="connsiteY3" fmla="*/ 5911366 h 5911366"/>
              <a:gd name="connsiteX4" fmla="*/ 7570 w 6471870"/>
              <a:gd name="connsiteY4" fmla="*/ 5911366 h 5911366"/>
              <a:gd name="connsiteX5" fmla="*/ 68918 w 6471870"/>
              <a:gd name="connsiteY5" fmla="*/ 919778 h 5911366"/>
              <a:gd name="connsiteX0" fmla="*/ 3287 w 6471945"/>
              <a:gd name="connsiteY0" fmla="*/ 947155 h 5911366"/>
              <a:gd name="connsiteX1" fmla="*/ 82 w 6471945"/>
              <a:gd name="connsiteY1" fmla="*/ 0 h 5911366"/>
              <a:gd name="connsiteX2" fmla="*/ 6471945 w 6471945"/>
              <a:gd name="connsiteY2" fmla="*/ 21 h 5911366"/>
              <a:gd name="connsiteX3" fmla="*/ 6471945 w 6471945"/>
              <a:gd name="connsiteY3" fmla="*/ 5911366 h 5911366"/>
              <a:gd name="connsiteX4" fmla="*/ 7645 w 6471945"/>
              <a:gd name="connsiteY4" fmla="*/ 5911366 h 5911366"/>
              <a:gd name="connsiteX5" fmla="*/ 3287 w 6471945"/>
              <a:gd name="connsiteY5" fmla="*/ 947155 h 5911366"/>
              <a:gd name="connsiteX0" fmla="*/ 0 w 6474134"/>
              <a:gd name="connsiteY0" fmla="*/ 914302 h 5911366"/>
              <a:gd name="connsiteX1" fmla="*/ 2271 w 6474134"/>
              <a:gd name="connsiteY1" fmla="*/ 0 h 5911366"/>
              <a:gd name="connsiteX2" fmla="*/ 6474134 w 6474134"/>
              <a:gd name="connsiteY2" fmla="*/ 21 h 5911366"/>
              <a:gd name="connsiteX3" fmla="*/ 6474134 w 6474134"/>
              <a:gd name="connsiteY3" fmla="*/ 5911366 h 5911366"/>
              <a:gd name="connsiteX4" fmla="*/ 9834 w 6474134"/>
              <a:gd name="connsiteY4" fmla="*/ 5911366 h 5911366"/>
              <a:gd name="connsiteX5" fmla="*/ 0 w 6474134"/>
              <a:gd name="connsiteY5" fmla="*/ 914302 h 5911366"/>
              <a:gd name="connsiteX0" fmla="*/ 8721 w 6471904"/>
              <a:gd name="connsiteY0" fmla="*/ 925253 h 5911366"/>
              <a:gd name="connsiteX1" fmla="*/ 41 w 6471904"/>
              <a:gd name="connsiteY1" fmla="*/ 0 h 5911366"/>
              <a:gd name="connsiteX2" fmla="*/ 6471904 w 6471904"/>
              <a:gd name="connsiteY2" fmla="*/ 21 h 5911366"/>
              <a:gd name="connsiteX3" fmla="*/ 6471904 w 6471904"/>
              <a:gd name="connsiteY3" fmla="*/ 5911366 h 5911366"/>
              <a:gd name="connsiteX4" fmla="*/ 7604 w 6471904"/>
              <a:gd name="connsiteY4" fmla="*/ 5911366 h 5911366"/>
              <a:gd name="connsiteX5" fmla="*/ 8721 w 6471904"/>
              <a:gd name="connsiteY5" fmla="*/ 925253 h 5911366"/>
              <a:gd name="connsiteX0" fmla="*/ 0 w 6473816"/>
              <a:gd name="connsiteY0" fmla="*/ 93588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0 w 6473816"/>
              <a:gd name="connsiteY5" fmla="*/ 935886 h 5911366"/>
              <a:gd name="connsiteX0" fmla="*/ 473219 w 6947035"/>
              <a:gd name="connsiteY0" fmla="*/ 935886 h 5911366"/>
              <a:gd name="connsiteX1" fmla="*/ 475172 w 6947035"/>
              <a:gd name="connsiteY1" fmla="*/ 0 h 5911366"/>
              <a:gd name="connsiteX2" fmla="*/ 6947035 w 6947035"/>
              <a:gd name="connsiteY2" fmla="*/ 21 h 5911366"/>
              <a:gd name="connsiteX3" fmla="*/ 6947035 w 6947035"/>
              <a:gd name="connsiteY3" fmla="*/ 5911366 h 5911366"/>
              <a:gd name="connsiteX4" fmla="*/ 482735 w 6947035"/>
              <a:gd name="connsiteY4" fmla="*/ 5911366 h 5911366"/>
              <a:gd name="connsiteX5" fmla="*/ 470036 w 6947035"/>
              <a:gd name="connsiteY5" fmla="*/ 2732490 h 5911366"/>
              <a:gd name="connsiteX6" fmla="*/ 473219 w 6947035"/>
              <a:gd name="connsiteY6" fmla="*/ 935886 h 5911366"/>
              <a:gd name="connsiteX0" fmla="*/ 472029 w 6945845"/>
              <a:gd name="connsiteY0" fmla="*/ 935886 h 5911366"/>
              <a:gd name="connsiteX1" fmla="*/ 473982 w 6945845"/>
              <a:gd name="connsiteY1" fmla="*/ 0 h 5911366"/>
              <a:gd name="connsiteX2" fmla="*/ 6945845 w 6945845"/>
              <a:gd name="connsiteY2" fmla="*/ 21 h 5911366"/>
              <a:gd name="connsiteX3" fmla="*/ 6945845 w 6945845"/>
              <a:gd name="connsiteY3" fmla="*/ 5911366 h 5911366"/>
              <a:gd name="connsiteX4" fmla="*/ 481545 w 6945845"/>
              <a:gd name="connsiteY4" fmla="*/ 5911366 h 5911366"/>
              <a:gd name="connsiteX5" fmla="*/ 468846 w 6945845"/>
              <a:gd name="connsiteY5" fmla="*/ 2732490 h 5911366"/>
              <a:gd name="connsiteX6" fmla="*/ 472029 w 6945845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8563 w 6482379"/>
              <a:gd name="connsiteY0" fmla="*/ 935886 h 5911366"/>
              <a:gd name="connsiteX1" fmla="*/ 10516 w 6482379"/>
              <a:gd name="connsiteY1" fmla="*/ 0 h 5911366"/>
              <a:gd name="connsiteX2" fmla="*/ 6482379 w 6482379"/>
              <a:gd name="connsiteY2" fmla="*/ 21 h 5911366"/>
              <a:gd name="connsiteX3" fmla="*/ 6482379 w 6482379"/>
              <a:gd name="connsiteY3" fmla="*/ 5911366 h 5911366"/>
              <a:gd name="connsiteX4" fmla="*/ 18079 w 6482379"/>
              <a:gd name="connsiteY4" fmla="*/ 5911366 h 5911366"/>
              <a:gd name="connsiteX5" fmla="*/ 5380 w 6482379"/>
              <a:gd name="connsiteY5" fmla="*/ 2732490 h 5911366"/>
              <a:gd name="connsiteX6" fmla="*/ 64 w 6482379"/>
              <a:gd name="connsiteY6" fmla="*/ 2599583 h 5911366"/>
              <a:gd name="connsiteX7" fmla="*/ 8563 w 6482379"/>
              <a:gd name="connsiteY7" fmla="*/ 935886 h 5911366"/>
              <a:gd name="connsiteX0" fmla="*/ 14065 w 6487881"/>
              <a:gd name="connsiteY0" fmla="*/ 935886 h 5911366"/>
              <a:gd name="connsiteX1" fmla="*/ 16018 w 6487881"/>
              <a:gd name="connsiteY1" fmla="*/ 0 h 5911366"/>
              <a:gd name="connsiteX2" fmla="*/ 6487881 w 6487881"/>
              <a:gd name="connsiteY2" fmla="*/ 21 h 5911366"/>
              <a:gd name="connsiteX3" fmla="*/ 6487881 w 6487881"/>
              <a:gd name="connsiteY3" fmla="*/ 5911366 h 5911366"/>
              <a:gd name="connsiteX4" fmla="*/ 23581 w 6487881"/>
              <a:gd name="connsiteY4" fmla="*/ 5911366 h 5911366"/>
              <a:gd name="connsiteX5" fmla="*/ 10882 w 6487881"/>
              <a:gd name="connsiteY5" fmla="*/ 2732490 h 5911366"/>
              <a:gd name="connsiteX6" fmla="*/ 5566 w 6487881"/>
              <a:gd name="connsiteY6" fmla="*/ 2599583 h 5911366"/>
              <a:gd name="connsiteX7" fmla="*/ 250 w 6487881"/>
              <a:gd name="connsiteY7" fmla="*/ 2067955 h 5911366"/>
              <a:gd name="connsiteX8" fmla="*/ 14065 w 6487881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89335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893356 h 5911366"/>
              <a:gd name="connsiteX0" fmla="*/ 3201 w 6477017"/>
              <a:gd name="connsiteY0" fmla="*/ 893356 h 5911366"/>
              <a:gd name="connsiteX1" fmla="*/ 5154 w 6477017"/>
              <a:gd name="connsiteY1" fmla="*/ 0 h 5911366"/>
              <a:gd name="connsiteX2" fmla="*/ 6477017 w 6477017"/>
              <a:gd name="connsiteY2" fmla="*/ 21 h 5911366"/>
              <a:gd name="connsiteX3" fmla="*/ 6477017 w 6477017"/>
              <a:gd name="connsiteY3" fmla="*/ 5911366 h 5911366"/>
              <a:gd name="connsiteX4" fmla="*/ 12717 w 6477017"/>
              <a:gd name="connsiteY4" fmla="*/ 5911366 h 5911366"/>
              <a:gd name="connsiteX5" fmla="*/ 18 w 6477017"/>
              <a:gd name="connsiteY5" fmla="*/ 2732490 h 5911366"/>
              <a:gd name="connsiteX6" fmla="*/ 382790 w 6477017"/>
              <a:gd name="connsiteY6" fmla="*/ 2487941 h 5911366"/>
              <a:gd name="connsiteX7" fmla="*/ 398739 w 6477017"/>
              <a:gd name="connsiteY7" fmla="*/ 1286462 h 5911366"/>
              <a:gd name="connsiteX8" fmla="*/ 3201 w 6477017"/>
              <a:gd name="connsiteY8" fmla="*/ 893356 h 5911366"/>
              <a:gd name="connsiteX0" fmla="*/ 8517 w 6482333"/>
              <a:gd name="connsiteY0" fmla="*/ 893356 h 5911366"/>
              <a:gd name="connsiteX1" fmla="*/ 10470 w 6482333"/>
              <a:gd name="connsiteY1" fmla="*/ 0 h 5911366"/>
              <a:gd name="connsiteX2" fmla="*/ 6482333 w 6482333"/>
              <a:gd name="connsiteY2" fmla="*/ 21 h 5911366"/>
              <a:gd name="connsiteX3" fmla="*/ 6482333 w 6482333"/>
              <a:gd name="connsiteY3" fmla="*/ 5911366 h 5911366"/>
              <a:gd name="connsiteX4" fmla="*/ 18033 w 6482333"/>
              <a:gd name="connsiteY4" fmla="*/ 5911366 h 5911366"/>
              <a:gd name="connsiteX5" fmla="*/ 17 w 6482333"/>
              <a:gd name="connsiteY5" fmla="*/ 2913244 h 5911366"/>
              <a:gd name="connsiteX6" fmla="*/ 388106 w 6482333"/>
              <a:gd name="connsiteY6" fmla="*/ 2487941 h 5911366"/>
              <a:gd name="connsiteX7" fmla="*/ 404055 w 6482333"/>
              <a:gd name="connsiteY7" fmla="*/ 1286462 h 5911366"/>
              <a:gd name="connsiteX8" fmla="*/ 8517 w 6482333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3548618 w 6482316"/>
              <a:gd name="connsiteY2" fmla="*/ 2832 h 5911366"/>
              <a:gd name="connsiteX3" fmla="*/ 6482316 w 6482316"/>
              <a:gd name="connsiteY3" fmla="*/ 21 h 5911366"/>
              <a:gd name="connsiteX4" fmla="*/ 6482316 w 6482316"/>
              <a:gd name="connsiteY4" fmla="*/ 5911366 h 5911366"/>
              <a:gd name="connsiteX5" fmla="*/ 18016 w 6482316"/>
              <a:gd name="connsiteY5" fmla="*/ 5911366 h 5911366"/>
              <a:gd name="connsiteX6" fmla="*/ 0 w 6482316"/>
              <a:gd name="connsiteY6" fmla="*/ 2902611 h 5911366"/>
              <a:gd name="connsiteX7" fmla="*/ 388089 w 6482316"/>
              <a:gd name="connsiteY7" fmla="*/ 2487941 h 5911366"/>
              <a:gd name="connsiteX8" fmla="*/ 404038 w 6482316"/>
              <a:gd name="connsiteY8" fmla="*/ 1286462 h 5911366"/>
              <a:gd name="connsiteX9" fmla="*/ 8500 w 6482316"/>
              <a:gd name="connsiteY9" fmla="*/ 893356 h 5911366"/>
              <a:gd name="connsiteX0" fmla="*/ 8500 w 6482316"/>
              <a:gd name="connsiteY0" fmla="*/ 893356 h 5917857"/>
              <a:gd name="connsiteX1" fmla="*/ 10453 w 6482316"/>
              <a:gd name="connsiteY1" fmla="*/ 0 h 5917857"/>
              <a:gd name="connsiteX2" fmla="*/ 3548618 w 6482316"/>
              <a:gd name="connsiteY2" fmla="*/ 2832 h 5917857"/>
              <a:gd name="connsiteX3" fmla="*/ 6482316 w 6482316"/>
              <a:gd name="connsiteY3" fmla="*/ 21 h 5917857"/>
              <a:gd name="connsiteX4" fmla="*/ 6482316 w 6482316"/>
              <a:gd name="connsiteY4" fmla="*/ 5911366 h 5917857"/>
              <a:gd name="connsiteX5" fmla="*/ 3520043 w 6482316"/>
              <a:gd name="connsiteY5" fmla="*/ 5917857 h 5917857"/>
              <a:gd name="connsiteX6" fmla="*/ 18016 w 6482316"/>
              <a:gd name="connsiteY6" fmla="*/ 5911366 h 5917857"/>
              <a:gd name="connsiteX7" fmla="*/ 0 w 6482316"/>
              <a:gd name="connsiteY7" fmla="*/ 2902611 h 5917857"/>
              <a:gd name="connsiteX8" fmla="*/ 388089 w 6482316"/>
              <a:gd name="connsiteY8" fmla="*/ 2487941 h 5917857"/>
              <a:gd name="connsiteX9" fmla="*/ 404038 w 6482316"/>
              <a:gd name="connsiteY9" fmla="*/ 1286462 h 5917857"/>
              <a:gd name="connsiteX10" fmla="*/ 8500 w 6482316"/>
              <a:gd name="connsiteY10" fmla="*/ 893356 h 5917857"/>
              <a:gd name="connsiteX0" fmla="*/ 8500 w 6482316"/>
              <a:gd name="connsiteY0" fmla="*/ 893356 h 5917857"/>
              <a:gd name="connsiteX1" fmla="*/ 10453 w 6482316"/>
              <a:gd name="connsiteY1" fmla="*/ 0 h 5917857"/>
              <a:gd name="connsiteX2" fmla="*/ 3548618 w 6482316"/>
              <a:gd name="connsiteY2" fmla="*/ 2832 h 5917857"/>
              <a:gd name="connsiteX3" fmla="*/ 6482316 w 6482316"/>
              <a:gd name="connsiteY3" fmla="*/ 21 h 5917857"/>
              <a:gd name="connsiteX4" fmla="*/ 3520043 w 6482316"/>
              <a:gd name="connsiteY4" fmla="*/ 5917857 h 5917857"/>
              <a:gd name="connsiteX5" fmla="*/ 18016 w 6482316"/>
              <a:gd name="connsiteY5" fmla="*/ 5911366 h 5917857"/>
              <a:gd name="connsiteX6" fmla="*/ 0 w 6482316"/>
              <a:gd name="connsiteY6" fmla="*/ 2902611 h 5917857"/>
              <a:gd name="connsiteX7" fmla="*/ 388089 w 6482316"/>
              <a:gd name="connsiteY7" fmla="*/ 2487941 h 5917857"/>
              <a:gd name="connsiteX8" fmla="*/ 404038 w 6482316"/>
              <a:gd name="connsiteY8" fmla="*/ 1286462 h 5917857"/>
              <a:gd name="connsiteX9" fmla="*/ 8500 w 6482316"/>
              <a:gd name="connsiteY9" fmla="*/ 893356 h 5917857"/>
              <a:gd name="connsiteX0" fmla="*/ 8500 w 3548618"/>
              <a:gd name="connsiteY0" fmla="*/ 893356 h 5917857"/>
              <a:gd name="connsiteX1" fmla="*/ 10453 w 3548618"/>
              <a:gd name="connsiteY1" fmla="*/ 0 h 5917857"/>
              <a:gd name="connsiteX2" fmla="*/ 3548618 w 3548618"/>
              <a:gd name="connsiteY2" fmla="*/ 2832 h 5917857"/>
              <a:gd name="connsiteX3" fmla="*/ 3520043 w 3548618"/>
              <a:gd name="connsiteY3" fmla="*/ 5917857 h 5917857"/>
              <a:gd name="connsiteX4" fmla="*/ 18016 w 3548618"/>
              <a:gd name="connsiteY4" fmla="*/ 5911366 h 5917857"/>
              <a:gd name="connsiteX5" fmla="*/ 0 w 3548618"/>
              <a:gd name="connsiteY5" fmla="*/ 2902611 h 5917857"/>
              <a:gd name="connsiteX6" fmla="*/ 388089 w 3548618"/>
              <a:gd name="connsiteY6" fmla="*/ 2487941 h 5917857"/>
              <a:gd name="connsiteX7" fmla="*/ 404038 w 3548618"/>
              <a:gd name="connsiteY7" fmla="*/ 1286462 h 5917857"/>
              <a:gd name="connsiteX8" fmla="*/ 8500 w 3548618"/>
              <a:gd name="connsiteY8" fmla="*/ 893356 h 5917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48618" h="5917857">
                <a:moveTo>
                  <a:pt x="8500" y="893356"/>
                </a:moveTo>
                <a:cubicBezTo>
                  <a:pt x="9256" y="579463"/>
                  <a:pt x="9697" y="313893"/>
                  <a:pt x="10453" y="0"/>
                </a:cubicBezTo>
                <a:lnTo>
                  <a:pt x="3548618" y="2832"/>
                </a:lnTo>
                <a:lnTo>
                  <a:pt x="3520043" y="5917857"/>
                </a:lnTo>
                <a:lnTo>
                  <a:pt x="18016" y="5911366"/>
                </a:lnTo>
                <a:cubicBezTo>
                  <a:pt x="12404" y="4865874"/>
                  <a:pt x="6902" y="3554944"/>
                  <a:pt x="0" y="2902611"/>
                </a:cubicBezTo>
                <a:cubicBezTo>
                  <a:pt x="214965" y="2664307"/>
                  <a:pt x="137693" y="2760793"/>
                  <a:pt x="388089" y="2487941"/>
                </a:cubicBezTo>
                <a:cubicBezTo>
                  <a:pt x="386317" y="2377185"/>
                  <a:pt x="402622" y="1563745"/>
                  <a:pt x="404038" y="1286462"/>
                </a:cubicBezTo>
                <a:cubicBezTo>
                  <a:pt x="155589" y="1057025"/>
                  <a:pt x="266370" y="1158271"/>
                  <a:pt x="8500" y="893356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pic>
        <p:nvPicPr>
          <p:cNvPr id="14" name="Рисунок 27">
            <a:extLst>
              <a:ext uri="{FF2B5EF4-FFF2-40B4-BE49-F238E27FC236}">
                <a16:creationId xmlns:a16="http://schemas.microsoft.com/office/drawing/2014/main" id="{7BEF88B4-0238-6142-9A36-1503048241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6C282C7-0A79-B844-AA7C-2C89C90862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13886446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олилиния 4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0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11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886550" y="1482896"/>
            <a:ext cx="10947487" cy="45337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pic>
        <p:nvPicPr>
          <p:cNvPr id="14" name="Рисунок 27">
            <a:extLst>
              <a:ext uri="{FF2B5EF4-FFF2-40B4-BE49-F238E27FC236}">
                <a16:creationId xmlns:a16="http://schemas.microsoft.com/office/drawing/2014/main" id="{1A24BB5F-1D2D-8D4F-98CB-89422E2B85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822DDA-AE9C-8C42-9E44-5D12F406510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9614923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oumns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Прямая соединительная линия 29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олилиния 30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36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886551" y="1743290"/>
            <a:ext cx="4599850" cy="24788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4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8" name="Текст 13"/>
          <p:cNvSpPr>
            <a:spLocks noGrp="1"/>
          </p:cNvSpPr>
          <p:nvPr>
            <p:ph type="body" sz="quarter" idx="20" hasCustomPrompt="1"/>
          </p:nvPr>
        </p:nvSpPr>
        <p:spPr>
          <a:xfrm>
            <a:off x="6734129" y="1743290"/>
            <a:ext cx="4827445" cy="247889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Font typeface="Arial" charset="0"/>
              <a:buChar char="•"/>
              <a:defRPr sz="14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1" name="Рисунок 12"/>
          <p:cNvSpPr>
            <a:spLocks noGrp="1"/>
          </p:cNvSpPr>
          <p:nvPr>
            <p:ph type="pic" sz="quarter" idx="14" hasCustomPrompt="1"/>
          </p:nvPr>
        </p:nvSpPr>
        <p:spPr>
          <a:xfrm>
            <a:off x="984043" y="4405051"/>
            <a:ext cx="3528680" cy="17165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sp>
        <p:nvSpPr>
          <p:cNvPr id="42" name="Рисунок 12"/>
          <p:cNvSpPr>
            <a:spLocks noGrp="1"/>
          </p:cNvSpPr>
          <p:nvPr>
            <p:ph type="pic" sz="quarter" idx="21" hasCustomPrompt="1"/>
          </p:nvPr>
        </p:nvSpPr>
        <p:spPr>
          <a:xfrm>
            <a:off x="7071002" y="4405050"/>
            <a:ext cx="3528680" cy="17165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sp>
        <p:nvSpPr>
          <p:cNvPr id="43" name="Текст 28"/>
          <p:cNvSpPr>
            <a:spLocks noGrp="1"/>
          </p:cNvSpPr>
          <p:nvPr>
            <p:ph type="body" sz="quarter" idx="10" hasCustomPrompt="1"/>
          </p:nvPr>
        </p:nvSpPr>
        <p:spPr>
          <a:xfrm>
            <a:off x="873202" y="1332194"/>
            <a:ext cx="4613199" cy="4110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-100" baseline="0"/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44" name="Текст 28"/>
          <p:cNvSpPr>
            <a:spLocks noGrp="1"/>
          </p:cNvSpPr>
          <p:nvPr>
            <p:ph type="body" sz="quarter" idx="22" hasCustomPrompt="1"/>
          </p:nvPr>
        </p:nvSpPr>
        <p:spPr>
          <a:xfrm>
            <a:off x="6734129" y="1330722"/>
            <a:ext cx="4827445" cy="4110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-100" baseline="0"/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18" name="Рисунок 27">
            <a:extLst>
              <a:ext uri="{FF2B5EF4-FFF2-40B4-BE49-F238E27FC236}">
                <a16:creationId xmlns:a16="http://schemas.microsoft.com/office/drawing/2014/main" id="{764BDDE3-0F47-EF41-B367-4D0A75CD22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0CA5171-9751-E842-9D0C-EC9A7E3694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3255872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 13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9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20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886551" y="2157636"/>
            <a:ext cx="3124385" cy="40383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3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1" name="Текст 28"/>
          <p:cNvSpPr>
            <a:spLocks noGrp="1"/>
          </p:cNvSpPr>
          <p:nvPr>
            <p:ph type="body" sz="quarter" idx="10" hasCustomPrompt="1"/>
          </p:nvPr>
        </p:nvSpPr>
        <p:spPr>
          <a:xfrm>
            <a:off x="873202" y="1460786"/>
            <a:ext cx="3190489" cy="4110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-150" baseline="0"/>
            </a:lvl1pPr>
          </a:lstStyle>
          <a:p>
            <a:pPr lvl="0"/>
            <a:r>
              <a:rPr lang="ru-RU" dirty="0"/>
              <a:t>Заголовок 1</a:t>
            </a:r>
          </a:p>
        </p:txBody>
      </p:sp>
      <p:sp>
        <p:nvSpPr>
          <p:cNvPr id="22" name="Текст 13"/>
          <p:cNvSpPr>
            <a:spLocks noGrp="1"/>
          </p:cNvSpPr>
          <p:nvPr>
            <p:ph type="body" sz="quarter" idx="20" hasCustomPrompt="1"/>
          </p:nvPr>
        </p:nvSpPr>
        <p:spPr>
          <a:xfrm>
            <a:off x="4522490" y="2157636"/>
            <a:ext cx="3124385" cy="40383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3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3" name="Текст 28"/>
          <p:cNvSpPr>
            <a:spLocks noGrp="1"/>
          </p:cNvSpPr>
          <p:nvPr>
            <p:ph type="body" sz="quarter" idx="21" hasCustomPrompt="1"/>
          </p:nvPr>
        </p:nvSpPr>
        <p:spPr>
          <a:xfrm>
            <a:off x="4509141" y="1460786"/>
            <a:ext cx="3190489" cy="4110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-150" baseline="0"/>
            </a:lvl1pPr>
          </a:lstStyle>
          <a:p>
            <a:pPr lvl="0"/>
            <a:r>
              <a:rPr lang="ru-RU" dirty="0"/>
              <a:t>Заголовок 2</a:t>
            </a:r>
          </a:p>
        </p:txBody>
      </p:sp>
      <p:sp>
        <p:nvSpPr>
          <p:cNvPr id="26" name="Текст 13"/>
          <p:cNvSpPr>
            <a:spLocks noGrp="1"/>
          </p:cNvSpPr>
          <p:nvPr>
            <p:ph type="body" sz="quarter" idx="22" hasCustomPrompt="1"/>
          </p:nvPr>
        </p:nvSpPr>
        <p:spPr>
          <a:xfrm>
            <a:off x="7984617" y="2157636"/>
            <a:ext cx="3124385" cy="40383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3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7" name="Текст 28"/>
          <p:cNvSpPr>
            <a:spLocks noGrp="1"/>
          </p:cNvSpPr>
          <p:nvPr>
            <p:ph type="body" sz="quarter" idx="23" hasCustomPrompt="1"/>
          </p:nvPr>
        </p:nvSpPr>
        <p:spPr>
          <a:xfrm>
            <a:off x="7971268" y="1460786"/>
            <a:ext cx="3190489" cy="4110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-150" baseline="0"/>
            </a:lvl1pPr>
          </a:lstStyle>
          <a:p>
            <a:pPr lvl="0"/>
            <a:r>
              <a:rPr lang="ru-RU" dirty="0"/>
              <a:t>Заголовок 3</a:t>
            </a:r>
          </a:p>
        </p:txBody>
      </p:sp>
      <p:cxnSp>
        <p:nvCxnSpPr>
          <p:cNvPr id="24" name="Прямая соединительная линия 23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Рисунок 27">
            <a:extLst>
              <a:ext uri="{FF2B5EF4-FFF2-40B4-BE49-F238E27FC236}">
                <a16:creationId xmlns:a16="http://schemas.microsoft.com/office/drawing/2014/main" id="{A1D8DB96-A03D-8F40-A194-3A3F0D2ED8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1E65D3B-9C66-B044-99C4-988ED29AC1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10295416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s bull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олилиния 4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0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11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886551" y="2171700"/>
            <a:ext cx="4599850" cy="3662887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80BC00"/>
              </a:buClr>
              <a:buFont typeface="Wingdings" panose="05000000000000000000" pitchFamily="2" charset="2"/>
              <a:buChar char=""/>
              <a:defRPr sz="16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13"/>
          <p:cNvSpPr>
            <a:spLocks noGrp="1"/>
          </p:cNvSpPr>
          <p:nvPr>
            <p:ph type="body" sz="quarter" idx="20" hasCustomPrompt="1"/>
          </p:nvPr>
        </p:nvSpPr>
        <p:spPr>
          <a:xfrm>
            <a:off x="6565901" y="2171700"/>
            <a:ext cx="4995674" cy="3662887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Font typeface="Wingdings" panose="05000000000000000000" pitchFamily="2" charset="2"/>
              <a:buChar char=""/>
              <a:defRPr sz="16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5" name="Текст 28"/>
          <p:cNvSpPr>
            <a:spLocks noGrp="1"/>
          </p:cNvSpPr>
          <p:nvPr>
            <p:ph type="body" sz="quarter" idx="10" hasCustomPrompt="1"/>
          </p:nvPr>
        </p:nvSpPr>
        <p:spPr>
          <a:xfrm>
            <a:off x="873202" y="1433794"/>
            <a:ext cx="4613199" cy="4110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spc="-150" baseline="0"/>
            </a:lvl1pPr>
          </a:lstStyle>
          <a:p>
            <a:pPr lvl="0"/>
            <a:r>
              <a:rPr lang="ru-RU" dirty="0"/>
              <a:t>ЗАГОЛОВОК</a:t>
            </a:r>
            <a:r>
              <a:rPr lang="en-US" dirty="0"/>
              <a:t> 1</a:t>
            </a:r>
            <a:endParaRPr lang="ru-RU" dirty="0"/>
          </a:p>
        </p:txBody>
      </p:sp>
      <p:sp>
        <p:nvSpPr>
          <p:cNvPr id="16" name="Текст 28"/>
          <p:cNvSpPr>
            <a:spLocks noGrp="1"/>
          </p:cNvSpPr>
          <p:nvPr>
            <p:ph type="body" sz="quarter" idx="22" hasCustomPrompt="1"/>
          </p:nvPr>
        </p:nvSpPr>
        <p:spPr>
          <a:xfrm>
            <a:off x="6565901" y="1432322"/>
            <a:ext cx="4995673" cy="4110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spc="-150" baseline="0"/>
            </a:lvl1pPr>
          </a:lstStyle>
          <a:p>
            <a:pPr lvl="0"/>
            <a:r>
              <a:rPr lang="ru-RU" dirty="0"/>
              <a:t>ЗАГОЛОВОК</a:t>
            </a:r>
            <a:r>
              <a:rPr lang="en-US" dirty="0"/>
              <a:t> 2</a:t>
            </a:r>
            <a:endParaRPr lang="ru-RU" dirty="0"/>
          </a:p>
        </p:txBody>
      </p:sp>
      <p:pic>
        <p:nvPicPr>
          <p:cNvPr id="18" name="Рисунок 27">
            <a:extLst>
              <a:ext uri="{FF2B5EF4-FFF2-40B4-BE49-F238E27FC236}">
                <a16:creationId xmlns:a16="http://schemas.microsoft.com/office/drawing/2014/main" id="{22309305-0E7B-1F43-8858-F83B13B4CF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D493463-9633-4943-8251-7B08E788B6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16577782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uth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олилиния 4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0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17" name="Таблица 16"/>
          <p:cNvSpPr>
            <a:spLocks noGrp="1"/>
          </p:cNvSpPr>
          <p:nvPr>
            <p:ph type="tbl" sz="quarter" idx="20" hasCustomPrompt="1"/>
          </p:nvPr>
        </p:nvSpPr>
        <p:spPr>
          <a:xfrm>
            <a:off x="606425" y="1460500"/>
            <a:ext cx="10899775" cy="4470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таблицу</a:t>
            </a:r>
          </a:p>
        </p:txBody>
      </p:sp>
      <p:pic>
        <p:nvPicPr>
          <p:cNvPr id="13" name="Рисунок 27">
            <a:extLst>
              <a:ext uri="{FF2B5EF4-FFF2-40B4-BE49-F238E27FC236}">
                <a16:creationId xmlns:a16="http://schemas.microsoft.com/office/drawing/2014/main" id="{A217DEA3-1FDF-0E44-8295-1F07740169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A14CB-6126-FF43-810C-0328799468C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17652410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олилиния 4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0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13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1643063" y="4575322"/>
            <a:ext cx="4449223" cy="15430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80"/>
              </a:lnSpc>
              <a:spcBef>
                <a:spcPts val="0"/>
              </a:spcBef>
              <a:buNone/>
              <a:defRPr sz="1400" baseline="0"/>
            </a:lvl1pPr>
          </a:lstStyle>
          <a:p>
            <a:pPr lvl="0"/>
            <a:r>
              <a:rPr lang="ru-RU"/>
              <a:t>Пример дополнительно текста к графику</a:t>
            </a:r>
            <a:endParaRPr lang="ru-RU" dirty="0"/>
          </a:p>
        </p:txBody>
      </p:sp>
      <p:sp>
        <p:nvSpPr>
          <p:cNvPr id="14" name="Текст 28"/>
          <p:cNvSpPr>
            <a:spLocks noGrp="1"/>
          </p:cNvSpPr>
          <p:nvPr>
            <p:ph type="body" sz="quarter" idx="10" hasCustomPrompt="1"/>
          </p:nvPr>
        </p:nvSpPr>
        <p:spPr>
          <a:xfrm>
            <a:off x="1973339" y="1491286"/>
            <a:ext cx="3190489" cy="76946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960"/>
              </a:lnSpc>
              <a:spcBef>
                <a:spcPts val="0"/>
              </a:spcBef>
              <a:buNone/>
              <a:defRPr sz="1800" spc="-150" baseline="0"/>
            </a:lvl1pPr>
          </a:lstStyle>
          <a:p>
            <a:pPr lvl="0"/>
            <a:r>
              <a:rPr lang="ru-RU"/>
              <a:t>ЗАГОЛОВОК ГРАФИКА</a:t>
            </a:r>
            <a:endParaRPr lang="ru-RU" dirty="0"/>
          </a:p>
        </p:txBody>
      </p:sp>
      <p:sp>
        <p:nvSpPr>
          <p:cNvPr id="15" name="Текст 28"/>
          <p:cNvSpPr>
            <a:spLocks noGrp="1"/>
          </p:cNvSpPr>
          <p:nvPr>
            <p:ph type="body" sz="quarter" idx="20" hasCustomPrompt="1"/>
          </p:nvPr>
        </p:nvSpPr>
        <p:spPr>
          <a:xfrm>
            <a:off x="7082669" y="1491286"/>
            <a:ext cx="3190489" cy="76946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960"/>
              </a:lnSpc>
              <a:spcBef>
                <a:spcPts val="0"/>
              </a:spcBef>
              <a:buNone/>
              <a:defRPr sz="1800" spc="-150" baseline="0"/>
            </a:lvl1pPr>
          </a:lstStyle>
          <a:p>
            <a:pPr lvl="0"/>
            <a:r>
              <a:rPr lang="ru-RU"/>
              <a:t>ЗАГОЛОВОК ГРАФИКА</a:t>
            </a:r>
            <a:endParaRPr lang="ru-RU" dirty="0"/>
          </a:p>
        </p:txBody>
      </p:sp>
      <p:sp>
        <p:nvSpPr>
          <p:cNvPr id="17" name="Диаграмма 16"/>
          <p:cNvSpPr>
            <a:spLocks noGrp="1"/>
          </p:cNvSpPr>
          <p:nvPr>
            <p:ph type="chart" sz="quarter" idx="21" hasCustomPrompt="1"/>
          </p:nvPr>
        </p:nvSpPr>
        <p:spPr>
          <a:xfrm>
            <a:off x="865188" y="2369511"/>
            <a:ext cx="5227637" cy="198817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диаграмму</a:t>
            </a:r>
          </a:p>
        </p:txBody>
      </p:sp>
      <p:sp>
        <p:nvSpPr>
          <p:cNvPr id="18" name="Диаграмма 16"/>
          <p:cNvSpPr>
            <a:spLocks noGrp="1"/>
          </p:cNvSpPr>
          <p:nvPr>
            <p:ph type="chart" sz="quarter" idx="22" hasCustomPrompt="1"/>
          </p:nvPr>
        </p:nvSpPr>
        <p:spPr>
          <a:xfrm>
            <a:off x="7082669" y="2369511"/>
            <a:ext cx="3975191" cy="393215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Добавьте диаграмму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6092286" y="6304243"/>
            <a:ext cx="0" cy="360000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7">
            <a:extLst>
              <a:ext uri="{FF2B5EF4-FFF2-40B4-BE49-F238E27FC236}">
                <a16:creationId xmlns:a16="http://schemas.microsoft.com/office/drawing/2014/main" id="{B5E853EB-37D4-E744-B0C1-FC5CD2459E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5857F3E-AE5D-AD4E-A9EE-F4624F2E63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527104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one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олилиния 4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0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12" name="Текст 28"/>
          <p:cNvSpPr>
            <a:spLocks noGrp="1"/>
          </p:cNvSpPr>
          <p:nvPr>
            <p:ph type="body" sz="quarter" idx="10" hasCustomPrompt="1"/>
          </p:nvPr>
        </p:nvSpPr>
        <p:spPr>
          <a:xfrm>
            <a:off x="886551" y="1653876"/>
            <a:ext cx="3081945" cy="7156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960"/>
              </a:lnSpc>
              <a:spcBef>
                <a:spcPts val="0"/>
              </a:spcBef>
              <a:buNone/>
              <a:defRPr sz="1800" spc="-150" baseline="0"/>
            </a:lvl1pPr>
          </a:lstStyle>
          <a:p>
            <a:pPr lvl="0"/>
            <a:r>
              <a:rPr lang="ru-RU"/>
              <a:t>ЗАГОЛОВОК ГРАФИКА</a:t>
            </a:r>
            <a:endParaRPr lang="ru-RU" dirty="0"/>
          </a:p>
        </p:txBody>
      </p:sp>
      <p:sp>
        <p:nvSpPr>
          <p:cNvPr id="14" name="Диаграмма 16"/>
          <p:cNvSpPr>
            <a:spLocks noGrp="1"/>
          </p:cNvSpPr>
          <p:nvPr>
            <p:ph type="chart" sz="quarter" idx="21" hasCustomPrompt="1"/>
          </p:nvPr>
        </p:nvSpPr>
        <p:spPr>
          <a:xfrm>
            <a:off x="865188" y="2369511"/>
            <a:ext cx="10674540" cy="33655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диаграмму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6092286" y="6304243"/>
            <a:ext cx="0" cy="360000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27">
            <a:extLst>
              <a:ext uri="{FF2B5EF4-FFF2-40B4-BE49-F238E27FC236}">
                <a16:creationId xmlns:a16="http://schemas.microsoft.com/office/drawing/2014/main" id="{9214EEC6-0044-A04E-8C77-EDC7FB8677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627A948-7004-1246-A157-31D4234A1D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17204359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graph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олилиния 4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0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11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865285" y="3087762"/>
            <a:ext cx="4298543" cy="25272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80"/>
              </a:lnSpc>
              <a:spcBef>
                <a:spcPts val="0"/>
              </a:spcBef>
              <a:buNone/>
              <a:defRPr sz="1400" baseline="0"/>
            </a:lvl1pPr>
          </a:lstStyle>
          <a:p>
            <a:pPr lvl="0"/>
            <a:r>
              <a:rPr lang="ru-RU"/>
              <a:t>Пример дополнительно текста к графику</a:t>
            </a:r>
            <a:endParaRPr lang="ru-RU" dirty="0"/>
          </a:p>
        </p:txBody>
      </p:sp>
      <p:sp>
        <p:nvSpPr>
          <p:cNvPr id="12" name="Текст 28"/>
          <p:cNvSpPr>
            <a:spLocks noGrp="1"/>
          </p:cNvSpPr>
          <p:nvPr>
            <p:ph type="body" sz="quarter" idx="10" hasCustomPrompt="1"/>
          </p:nvPr>
        </p:nvSpPr>
        <p:spPr>
          <a:xfrm>
            <a:off x="886551" y="1634164"/>
            <a:ext cx="4277277" cy="76946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960"/>
              </a:lnSpc>
              <a:spcBef>
                <a:spcPts val="0"/>
              </a:spcBef>
              <a:buNone/>
              <a:defRPr sz="1800" spc="-150" baseline="0"/>
            </a:lvl1pPr>
          </a:lstStyle>
          <a:p>
            <a:pPr lvl="0"/>
            <a:r>
              <a:rPr lang="ru-RU"/>
              <a:t>ЗАГОЛОВОК ГРАФИКА</a:t>
            </a:r>
            <a:endParaRPr lang="ru-RU" dirty="0"/>
          </a:p>
        </p:txBody>
      </p:sp>
      <p:sp>
        <p:nvSpPr>
          <p:cNvPr id="15" name="Диаграмма 16"/>
          <p:cNvSpPr>
            <a:spLocks noGrp="1"/>
          </p:cNvSpPr>
          <p:nvPr>
            <p:ph type="chart" sz="quarter" idx="22" hasCustomPrompt="1"/>
          </p:nvPr>
        </p:nvSpPr>
        <p:spPr>
          <a:xfrm>
            <a:off x="5396744" y="1634164"/>
            <a:ext cx="6204706" cy="398082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Добавьте диаграмму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6092286" y="6304243"/>
            <a:ext cx="0" cy="360000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27">
            <a:extLst>
              <a:ext uri="{FF2B5EF4-FFF2-40B4-BE49-F238E27FC236}">
                <a16:creationId xmlns:a16="http://schemas.microsoft.com/office/drawing/2014/main" id="{79D302C1-3A3D-1D4D-B122-74C44C46DD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EF292BE-52EA-3147-9727-EC6B7EF385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8174343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олилиния 4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0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13" name="Диаграмма 16"/>
          <p:cNvSpPr>
            <a:spLocks noGrp="1"/>
          </p:cNvSpPr>
          <p:nvPr>
            <p:ph type="chart" sz="quarter" idx="22" hasCustomPrompt="1"/>
          </p:nvPr>
        </p:nvSpPr>
        <p:spPr>
          <a:xfrm>
            <a:off x="6241128" y="2200405"/>
            <a:ext cx="5468850" cy="364952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Добавьте диаграмму</a:t>
            </a:r>
          </a:p>
        </p:txBody>
      </p:sp>
      <p:sp>
        <p:nvSpPr>
          <p:cNvPr id="17" name="Диаграмма 16"/>
          <p:cNvSpPr>
            <a:spLocks noGrp="1"/>
          </p:cNvSpPr>
          <p:nvPr>
            <p:ph type="chart" sz="quarter" idx="23" hasCustomPrompt="1"/>
          </p:nvPr>
        </p:nvSpPr>
        <p:spPr>
          <a:xfrm>
            <a:off x="587375" y="2200405"/>
            <a:ext cx="5371174" cy="364952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Добавьте диаграмму</a:t>
            </a: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>
            <a:off x="6092286" y="6304243"/>
            <a:ext cx="0" cy="360000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27">
            <a:extLst>
              <a:ext uri="{FF2B5EF4-FFF2-40B4-BE49-F238E27FC236}">
                <a16:creationId xmlns:a16="http://schemas.microsoft.com/office/drawing/2014/main" id="{541028F1-9A80-0A44-8B75-C8B8551E6D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2739194-F181-DE45-85C8-C73CCC3E26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174415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475693" y="422954"/>
            <a:ext cx="7716307" cy="6012091"/>
          </a:xfrm>
          <a:prstGeom prst="rect">
            <a:avLst/>
          </a:prstGeom>
        </p:spPr>
      </p:pic>
      <p:sp>
        <p:nvSpPr>
          <p:cNvPr id="17" name="Прямоугольник 7">
            <a:extLst>
              <a:ext uri="{FF2B5EF4-FFF2-40B4-BE49-F238E27FC236}">
                <a16:creationId xmlns:a16="http://schemas.microsoft.com/office/drawing/2014/main" id="{F3636553-A7A2-034B-A485-6F57DD22EFF0}"/>
              </a:ext>
            </a:extLst>
          </p:cNvPr>
          <p:cNvSpPr/>
          <p:nvPr userDrawn="1"/>
        </p:nvSpPr>
        <p:spPr>
          <a:xfrm>
            <a:off x="1608" y="6715"/>
            <a:ext cx="6098107" cy="6855043"/>
          </a:xfrm>
          <a:custGeom>
            <a:avLst/>
            <a:gdLst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7858 w 5717858"/>
              <a:gd name="connsiteY2" fmla="*/ 6855043 h 6855043"/>
              <a:gd name="connsiteX3" fmla="*/ 0 w 5717858"/>
              <a:gd name="connsiteY3" fmla="*/ 6855043 h 6855043"/>
              <a:gd name="connsiteX4" fmla="*/ 0 w 5717858"/>
              <a:gd name="connsiteY4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7858 w 5717858"/>
              <a:gd name="connsiteY3" fmla="*/ 6855043 h 6855043"/>
              <a:gd name="connsiteX4" fmla="*/ 0 w 5717858"/>
              <a:gd name="connsiteY4" fmla="*/ 6855043 h 6855043"/>
              <a:gd name="connsiteX5" fmla="*/ 0 w 5717858"/>
              <a:gd name="connsiteY5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7858 w 5717858"/>
              <a:gd name="connsiteY4" fmla="*/ 6855043 h 6855043"/>
              <a:gd name="connsiteX5" fmla="*/ 0 w 5717858"/>
              <a:gd name="connsiteY5" fmla="*/ 6855043 h 6855043"/>
              <a:gd name="connsiteX6" fmla="*/ 0 w 5717858"/>
              <a:gd name="connsiteY6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3067 w 5717858"/>
              <a:gd name="connsiteY4" fmla="*/ 3352181 h 6855043"/>
              <a:gd name="connsiteX5" fmla="*/ 5717858 w 5717858"/>
              <a:gd name="connsiteY5" fmla="*/ 6855043 h 6855043"/>
              <a:gd name="connsiteX6" fmla="*/ 0 w 5717858"/>
              <a:gd name="connsiteY6" fmla="*/ 6855043 h 6855043"/>
              <a:gd name="connsiteX7" fmla="*/ 0 w 5717858"/>
              <a:gd name="connsiteY7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0491 w 5717858"/>
              <a:gd name="connsiteY4" fmla="*/ 3027633 h 6855043"/>
              <a:gd name="connsiteX5" fmla="*/ 5713067 w 5717858"/>
              <a:gd name="connsiteY5" fmla="*/ 3352181 h 6855043"/>
              <a:gd name="connsiteX6" fmla="*/ 5717858 w 5717858"/>
              <a:gd name="connsiteY6" fmla="*/ 6855043 h 6855043"/>
              <a:gd name="connsiteX7" fmla="*/ 0 w 5717858"/>
              <a:gd name="connsiteY7" fmla="*/ 6855043 h 6855043"/>
              <a:gd name="connsiteX8" fmla="*/ 0 w 5717858"/>
              <a:gd name="connsiteY8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0491 w 5717858"/>
              <a:gd name="connsiteY4" fmla="*/ 3027633 h 6855043"/>
              <a:gd name="connsiteX5" fmla="*/ 5713067 w 5717858"/>
              <a:gd name="connsiteY5" fmla="*/ 3352181 h 6855043"/>
              <a:gd name="connsiteX6" fmla="*/ 5717858 w 5717858"/>
              <a:gd name="connsiteY6" fmla="*/ 6855043 h 6855043"/>
              <a:gd name="connsiteX7" fmla="*/ 0 w 5717858"/>
              <a:gd name="connsiteY7" fmla="*/ 6855043 h 6855043"/>
              <a:gd name="connsiteX8" fmla="*/ 0 w 5717858"/>
              <a:gd name="connsiteY8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0491 w 5717858"/>
              <a:gd name="connsiteY4" fmla="*/ 3027633 h 6855043"/>
              <a:gd name="connsiteX5" fmla="*/ 5713067 w 5717858"/>
              <a:gd name="connsiteY5" fmla="*/ 3352181 h 6855043"/>
              <a:gd name="connsiteX6" fmla="*/ 5717858 w 5717858"/>
              <a:gd name="connsiteY6" fmla="*/ 6855043 h 6855043"/>
              <a:gd name="connsiteX7" fmla="*/ 0 w 5717858"/>
              <a:gd name="connsiteY7" fmla="*/ 6855043 h 6855043"/>
              <a:gd name="connsiteX8" fmla="*/ 0 w 5717858"/>
              <a:gd name="connsiteY8" fmla="*/ 0 h 6855043"/>
              <a:gd name="connsiteX0" fmla="*/ 0 w 6017009"/>
              <a:gd name="connsiteY0" fmla="*/ 0 h 6855043"/>
              <a:gd name="connsiteX1" fmla="*/ 5717858 w 6017009"/>
              <a:gd name="connsiteY1" fmla="*/ 0 h 6855043"/>
              <a:gd name="connsiteX2" fmla="*/ 5714999 w 6017009"/>
              <a:gd name="connsiteY2" fmla="*/ 1391289 h 6855043"/>
              <a:gd name="connsiteX3" fmla="*/ 6017009 w 6017009"/>
              <a:gd name="connsiteY3" fmla="*/ 1999900 h 6855043"/>
              <a:gd name="connsiteX4" fmla="*/ 5710491 w 6017009"/>
              <a:gd name="connsiteY4" fmla="*/ 3027633 h 6855043"/>
              <a:gd name="connsiteX5" fmla="*/ 5713067 w 6017009"/>
              <a:gd name="connsiteY5" fmla="*/ 3352181 h 6855043"/>
              <a:gd name="connsiteX6" fmla="*/ 5717858 w 6017009"/>
              <a:gd name="connsiteY6" fmla="*/ 6855043 h 6855043"/>
              <a:gd name="connsiteX7" fmla="*/ 0 w 6017009"/>
              <a:gd name="connsiteY7" fmla="*/ 6855043 h 6855043"/>
              <a:gd name="connsiteX8" fmla="*/ 0 w 6017009"/>
              <a:gd name="connsiteY8" fmla="*/ 0 h 6855043"/>
              <a:gd name="connsiteX0" fmla="*/ 0 w 6017009"/>
              <a:gd name="connsiteY0" fmla="*/ 0 h 6855043"/>
              <a:gd name="connsiteX1" fmla="*/ 5717858 w 6017009"/>
              <a:gd name="connsiteY1" fmla="*/ 0 h 6855043"/>
              <a:gd name="connsiteX2" fmla="*/ 5714999 w 6017009"/>
              <a:gd name="connsiteY2" fmla="*/ 1391289 h 6855043"/>
              <a:gd name="connsiteX3" fmla="*/ 6017009 w 6017009"/>
              <a:gd name="connsiteY3" fmla="*/ 1999900 h 6855043"/>
              <a:gd name="connsiteX4" fmla="*/ 5710491 w 6017009"/>
              <a:gd name="connsiteY4" fmla="*/ 3027633 h 6855043"/>
              <a:gd name="connsiteX5" fmla="*/ 5713067 w 6017009"/>
              <a:gd name="connsiteY5" fmla="*/ 3352181 h 6855043"/>
              <a:gd name="connsiteX6" fmla="*/ 5717858 w 6017009"/>
              <a:gd name="connsiteY6" fmla="*/ 6855043 h 6855043"/>
              <a:gd name="connsiteX7" fmla="*/ 0 w 6017009"/>
              <a:gd name="connsiteY7" fmla="*/ 6855043 h 6855043"/>
              <a:gd name="connsiteX8" fmla="*/ 0 w 6017009"/>
              <a:gd name="connsiteY8" fmla="*/ 0 h 6855043"/>
              <a:gd name="connsiteX0" fmla="*/ 0 w 6053070"/>
              <a:gd name="connsiteY0" fmla="*/ 0 h 6855043"/>
              <a:gd name="connsiteX1" fmla="*/ 5717858 w 6053070"/>
              <a:gd name="connsiteY1" fmla="*/ 0 h 6855043"/>
              <a:gd name="connsiteX2" fmla="*/ 5714999 w 6053070"/>
              <a:gd name="connsiteY2" fmla="*/ 1391289 h 6855043"/>
              <a:gd name="connsiteX3" fmla="*/ 6053070 w 6053070"/>
              <a:gd name="connsiteY3" fmla="*/ 1971567 h 6855043"/>
              <a:gd name="connsiteX4" fmla="*/ 5710491 w 6053070"/>
              <a:gd name="connsiteY4" fmla="*/ 3027633 h 6855043"/>
              <a:gd name="connsiteX5" fmla="*/ 5713067 w 6053070"/>
              <a:gd name="connsiteY5" fmla="*/ 3352181 h 6855043"/>
              <a:gd name="connsiteX6" fmla="*/ 5717858 w 6053070"/>
              <a:gd name="connsiteY6" fmla="*/ 6855043 h 6855043"/>
              <a:gd name="connsiteX7" fmla="*/ 0 w 6053070"/>
              <a:gd name="connsiteY7" fmla="*/ 6855043 h 6855043"/>
              <a:gd name="connsiteX8" fmla="*/ 0 w 6053070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5710491 w 6107161"/>
              <a:gd name="connsiteY4" fmla="*/ 3027633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27029"/>
              <a:gd name="connsiteY0" fmla="*/ 0 h 6855043"/>
              <a:gd name="connsiteX1" fmla="*/ 5717858 w 6127029"/>
              <a:gd name="connsiteY1" fmla="*/ 0 h 6855043"/>
              <a:gd name="connsiteX2" fmla="*/ 5714999 w 6127029"/>
              <a:gd name="connsiteY2" fmla="*/ 1391289 h 6855043"/>
              <a:gd name="connsiteX3" fmla="*/ 6107161 w 6127029"/>
              <a:gd name="connsiteY3" fmla="*/ 1773233 h 6855043"/>
              <a:gd name="connsiteX4" fmla="*/ 6094282 w 6127029"/>
              <a:gd name="connsiteY4" fmla="*/ 2978693 h 6855043"/>
              <a:gd name="connsiteX5" fmla="*/ 5713067 w 6127029"/>
              <a:gd name="connsiteY5" fmla="*/ 3352181 h 6855043"/>
              <a:gd name="connsiteX6" fmla="*/ 5717858 w 6127029"/>
              <a:gd name="connsiteY6" fmla="*/ 6855043 h 6855043"/>
              <a:gd name="connsiteX7" fmla="*/ 0 w 6127029"/>
              <a:gd name="connsiteY7" fmla="*/ 6855043 h 6855043"/>
              <a:gd name="connsiteX8" fmla="*/ 0 w 6127029"/>
              <a:gd name="connsiteY8" fmla="*/ 0 h 6855043"/>
              <a:gd name="connsiteX0" fmla="*/ 0 w 6127029"/>
              <a:gd name="connsiteY0" fmla="*/ 0 h 6855043"/>
              <a:gd name="connsiteX1" fmla="*/ 5717858 w 6127029"/>
              <a:gd name="connsiteY1" fmla="*/ 0 h 6855043"/>
              <a:gd name="connsiteX2" fmla="*/ 5714999 w 6127029"/>
              <a:gd name="connsiteY2" fmla="*/ 1391289 h 6855043"/>
              <a:gd name="connsiteX3" fmla="*/ 6107161 w 6127029"/>
              <a:gd name="connsiteY3" fmla="*/ 1773233 h 6855043"/>
              <a:gd name="connsiteX4" fmla="*/ 6094282 w 6127029"/>
              <a:gd name="connsiteY4" fmla="*/ 2978693 h 6855043"/>
              <a:gd name="connsiteX5" fmla="*/ 5713067 w 6127029"/>
              <a:gd name="connsiteY5" fmla="*/ 3352181 h 6855043"/>
              <a:gd name="connsiteX6" fmla="*/ 5717858 w 6127029"/>
              <a:gd name="connsiteY6" fmla="*/ 6855043 h 6855043"/>
              <a:gd name="connsiteX7" fmla="*/ 0 w 6127029"/>
              <a:gd name="connsiteY7" fmla="*/ 6855043 h 6855043"/>
              <a:gd name="connsiteX8" fmla="*/ 0 w 6127029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5906250 w 6107161"/>
              <a:gd name="connsiteY4" fmla="*/ 2914299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12069"/>
              <a:gd name="connsiteY0" fmla="*/ 0 h 6855043"/>
              <a:gd name="connsiteX1" fmla="*/ 5717858 w 6112069"/>
              <a:gd name="connsiteY1" fmla="*/ 0 h 6855043"/>
              <a:gd name="connsiteX2" fmla="*/ 5714999 w 6112069"/>
              <a:gd name="connsiteY2" fmla="*/ 1391289 h 6855043"/>
              <a:gd name="connsiteX3" fmla="*/ 6107161 w 6112069"/>
              <a:gd name="connsiteY3" fmla="*/ 1773233 h 6855043"/>
              <a:gd name="connsiteX4" fmla="*/ 5906250 w 6112069"/>
              <a:gd name="connsiteY4" fmla="*/ 2914299 h 6855043"/>
              <a:gd name="connsiteX5" fmla="*/ 5713067 w 6112069"/>
              <a:gd name="connsiteY5" fmla="*/ 3352181 h 6855043"/>
              <a:gd name="connsiteX6" fmla="*/ 5717858 w 6112069"/>
              <a:gd name="connsiteY6" fmla="*/ 6855043 h 6855043"/>
              <a:gd name="connsiteX7" fmla="*/ 0 w 6112069"/>
              <a:gd name="connsiteY7" fmla="*/ 6855043 h 6855043"/>
              <a:gd name="connsiteX8" fmla="*/ 0 w 6112069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5906250 w 6107161"/>
              <a:gd name="connsiteY4" fmla="*/ 2914299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6096858 w 6107161"/>
              <a:gd name="connsiteY4" fmla="*/ 2970966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6096858 w 6107161"/>
              <a:gd name="connsiteY4" fmla="*/ 2970966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6096858 w 6107161"/>
              <a:gd name="connsiteY4" fmla="*/ 2970966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10968"/>
              <a:gd name="connsiteY0" fmla="*/ 0 h 6855043"/>
              <a:gd name="connsiteX1" fmla="*/ 5717858 w 6110968"/>
              <a:gd name="connsiteY1" fmla="*/ 0 h 6855043"/>
              <a:gd name="connsiteX2" fmla="*/ 5714999 w 6110968"/>
              <a:gd name="connsiteY2" fmla="*/ 1391289 h 6855043"/>
              <a:gd name="connsiteX3" fmla="*/ 6034733 w 6110968"/>
              <a:gd name="connsiteY3" fmla="*/ 1812464 h 6855043"/>
              <a:gd name="connsiteX4" fmla="*/ 6096858 w 6110968"/>
              <a:gd name="connsiteY4" fmla="*/ 2970966 h 6855043"/>
              <a:gd name="connsiteX5" fmla="*/ 5713067 w 6110968"/>
              <a:gd name="connsiteY5" fmla="*/ 3352181 h 6855043"/>
              <a:gd name="connsiteX6" fmla="*/ 5717858 w 6110968"/>
              <a:gd name="connsiteY6" fmla="*/ 6855043 h 6855043"/>
              <a:gd name="connsiteX7" fmla="*/ 0 w 6110968"/>
              <a:gd name="connsiteY7" fmla="*/ 6855043 h 6855043"/>
              <a:gd name="connsiteX8" fmla="*/ 0 w 6110968"/>
              <a:gd name="connsiteY8" fmla="*/ 0 h 6855043"/>
              <a:gd name="connsiteX0" fmla="*/ 0 w 6125537"/>
              <a:gd name="connsiteY0" fmla="*/ 0 h 6855043"/>
              <a:gd name="connsiteX1" fmla="*/ 5717858 w 6125537"/>
              <a:gd name="connsiteY1" fmla="*/ 0 h 6855043"/>
              <a:gd name="connsiteX2" fmla="*/ 5714999 w 6125537"/>
              <a:gd name="connsiteY2" fmla="*/ 1391289 h 6855043"/>
              <a:gd name="connsiteX3" fmla="*/ 6098107 w 6125537"/>
              <a:gd name="connsiteY3" fmla="*/ 1770215 h 6855043"/>
              <a:gd name="connsiteX4" fmla="*/ 6096858 w 6125537"/>
              <a:gd name="connsiteY4" fmla="*/ 2970966 h 6855043"/>
              <a:gd name="connsiteX5" fmla="*/ 5713067 w 6125537"/>
              <a:gd name="connsiteY5" fmla="*/ 3352181 h 6855043"/>
              <a:gd name="connsiteX6" fmla="*/ 5717858 w 6125537"/>
              <a:gd name="connsiteY6" fmla="*/ 6855043 h 6855043"/>
              <a:gd name="connsiteX7" fmla="*/ 0 w 6125537"/>
              <a:gd name="connsiteY7" fmla="*/ 6855043 h 6855043"/>
              <a:gd name="connsiteX8" fmla="*/ 0 w 612553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5936913 w 6098107"/>
              <a:gd name="connsiteY4" fmla="*/ 2983038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119069"/>
              <a:gd name="connsiteY0" fmla="*/ 0 h 6855043"/>
              <a:gd name="connsiteX1" fmla="*/ 5717858 w 6119069"/>
              <a:gd name="connsiteY1" fmla="*/ 0 h 6855043"/>
              <a:gd name="connsiteX2" fmla="*/ 5714999 w 6119069"/>
              <a:gd name="connsiteY2" fmla="*/ 1391289 h 6855043"/>
              <a:gd name="connsiteX3" fmla="*/ 6098107 w 6119069"/>
              <a:gd name="connsiteY3" fmla="*/ 1770215 h 6855043"/>
              <a:gd name="connsiteX4" fmla="*/ 6087804 w 6119069"/>
              <a:gd name="connsiteY4" fmla="*/ 2964931 h 6855043"/>
              <a:gd name="connsiteX5" fmla="*/ 5713067 w 6119069"/>
              <a:gd name="connsiteY5" fmla="*/ 3352181 h 6855043"/>
              <a:gd name="connsiteX6" fmla="*/ 5717858 w 6119069"/>
              <a:gd name="connsiteY6" fmla="*/ 6855043 h 6855043"/>
              <a:gd name="connsiteX7" fmla="*/ 0 w 6119069"/>
              <a:gd name="connsiteY7" fmla="*/ 6855043 h 6855043"/>
              <a:gd name="connsiteX8" fmla="*/ 0 w 6119069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73985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8107" h="6855043">
                <a:moveTo>
                  <a:pt x="0" y="0"/>
                </a:moveTo>
                <a:lnTo>
                  <a:pt x="5717858" y="0"/>
                </a:lnTo>
                <a:lnTo>
                  <a:pt x="5714999" y="1391289"/>
                </a:lnTo>
                <a:lnTo>
                  <a:pt x="6098107" y="1770215"/>
                </a:lnTo>
                <a:cubicBezTo>
                  <a:pt x="6097356" y="2042939"/>
                  <a:pt x="6094320" y="2706021"/>
                  <a:pt x="6087804" y="2973985"/>
                </a:cubicBezTo>
                <a:cubicBezTo>
                  <a:pt x="6087512" y="2985992"/>
                  <a:pt x="5904491" y="3165556"/>
                  <a:pt x="5713067" y="3352181"/>
                </a:cubicBezTo>
                <a:cubicBezTo>
                  <a:pt x="5711481" y="3806821"/>
                  <a:pt x="5716261" y="5687422"/>
                  <a:pt x="5717858" y="6855043"/>
                </a:cubicBezTo>
                <a:lnTo>
                  <a:pt x="0" y="68550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9057" y="0"/>
            <a:ext cx="12182943" cy="6868473"/>
            <a:chOff x="9057" y="0"/>
            <a:chExt cx="12182943" cy="6868473"/>
          </a:xfrm>
          <a:solidFill>
            <a:schemeClr val="bg1"/>
          </a:solidFill>
        </p:grpSpPr>
        <p:sp>
          <p:nvSpPr>
            <p:cNvPr id="5" name="Прямоугольник 7"/>
            <p:cNvSpPr/>
            <p:nvPr/>
          </p:nvSpPr>
          <p:spPr>
            <a:xfrm>
              <a:off x="9057" y="1478"/>
              <a:ext cx="6098107" cy="6855043"/>
            </a:xfrm>
            <a:custGeom>
              <a:avLst/>
              <a:gdLst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7858 w 5717858"/>
                <a:gd name="connsiteY2" fmla="*/ 6855043 h 6855043"/>
                <a:gd name="connsiteX3" fmla="*/ 0 w 5717858"/>
                <a:gd name="connsiteY3" fmla="*/ 6855043 h 6855043"/>
                <a:gd name="connsiteX4" fmla="*/ 0 w 5717858"/>
                <a:gd name="connsiteY4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7858 w 5717858"/>
                <a:gd name="connsiteY3" fmla="*/ 6855043 h 6855043"/>
                <a:gd name="connsiteX4" fmla="*/ 0 w 5717858"/>
                <a:gd name="connsiteY4" fmla="*/ 6855043 h 6855043"/>
                <a:gd name="connsiteX5" fmla="*/ 0 w 5717858"/>
                <a:gd name="connsiteY5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7858 w 5717858"/>
                <a:gd name="connsiteY4" fmla="*/ 6855043 h 6855043"/>
                <a:gd name="connsiteX5" fmla="*/ 0 w 5717858"/>
                <a:gd name="connsiteY5" fmla="*/ 6855043 h 6855043"/>
                <a:gd name="connsiteX6" fmla="*/ 0 w 5717858"/>
                <a:gd name="connsiteY6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3067 w 5717858"/>
                <a:gd name="connsiteY4" fmla="*/ 3352181 h 6855043"/>
                <a:gd name="connsiteX5" fmla="*/ 5717858 w 5717858"/>
                <a:gd name="connsiteY5" fmla="*/ 6855043 h 6855043"/>
                <a:gd name="connsiteX6" fmla="*/ 0 w 5717858"/>
                <a:gd name="connsiteY6" fmla="*/ 6855043 h 6855043"/>
                <a:gd name="connsiteX7" fmla="*/ 0 w 5717858"/>
                <a:gd name="connsiteY7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53070"/>
                <a:gd name="connsiteY0" fmla="*/ 0 h 6855043"/>
                <a:gd name="connsiteX1" fmla="*/ 5717858 w 6053070"/>
                <a:gd name="connsiteY1" fmla="*/ 0 h 6855043"/>
                <a:gd name="connsiteX2" fmla="*/ 5714999 w 6053070"/>
                <a:gd name="connsiteY2" fmla="*/ 1391289 h 6855043"/>
                <a:gd name="connsiteX3" fmla="*/ 6053070 w 6053070"/>
                <a:gd name="connsiteY3" fmla="*/ 1971567 h 6855043"/>
                <a:gd name="connsiteX4" fmla="*/ 5710491 w 6053070"/>
                <a:gd name="connsiteY4" fmla="*/ 3027633 h 6855043"/>
                <a:gd name="connsiteX5" fmla="*/ 5713067 w 6053070"/>
                <a:gd name="connsiteY5" fmla="*/ 3352181 h 6855043"/>
                <a:gd name="connsiteX6" fmla="*/ 5717858 w 6053070"/>
                <a:gd name="connsiteY6" fmla="*/ 6855043 h 6855043"/>
                <a:gd name="connsiteX7" fmla="*/ 0 w 6053070"/>
                <a:gd name="connsiteY7" fmla="*/ 6855043 h 6855043"/>
                <a:gd name="connsiteX8" fmla="*/ 0 w 6053070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710491 w 6107161"/>
                <a:gd name="connsiteY4" fmla="*/ 3027633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2069"/>
                <a:gd name="connsiteY0" fmla="*/ 0 h 6855043"/>
                <a:gd name="connsiteX1" fmla="*/ 5717858 w 6112069"/>
                <a:gd name="connsiteY1" fmla="*/ 0 h 6855043"/>
                <a:gd name="connsiteX2" fmla="*/ 5714999 w 6112069"/>
                <a:gd name="connsiteY2" fmla="*/ 1391289 h 6855043"/>
                <a:gd name="connsiteX3" fmla="*/ 6107161 w 6112069"/>
                <a:gd name="connsiteY3" fmla="*/ 1773233 h 6855043"/>
                <a:gd name="connsiteX4" fmla="*/ 5906250 w 6112069"/>
                <a:gd name="connsiteY4" fmla="*/ 2914299 h 6855043"/>
                <a:gd name="connsiteX5" fmla="*/ 5713067 w 6112069"/>
                <a:gd name="connsiteY5" fmla="*/ 3352181 h 6855043"/>
                <a:gd name="connsiteX6" fmla="*/ 5717858 w 6112069"/>
                <a:gd name="connsiteY6" fmla="*/ 6855043 h 6855043"/>
                <a:gd name="connsiteX7" fmla="*/ 0 w 6112069"/>
                <a:gd name="connsiteY7" fmla="*/ 6855043 h 6855043"/>
                <a:gd name="connsiteX8" fmla="*/ 0 w 611206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0968"/>
                <a:gd name="connsiteY0" fmla="*/ 0 h 6855043"/>
                <a:gd name="connsiteX1" fmla="*/ 5717858 w 6110968"/>
                <a:gd name="connsiteY1" fmla="*/ 0 h 6855043"/>
                <a:gd name="connsiteX2" fmla="*/ 5714999 w 6110968"/>
                <a:gd name="connsiteY2" fmla="*/ 1391289 h 6855043"/>
                <a:gd name="connsiteX3" fmla="*/ 6034733 w 6110968"/>
                <a:gd name="connsiteY3" fmla="*/ 1812464 h 6855043"/>
                <a:gd name="connsiteX4" fmla="*/ 6096858 w 6110968"/>
                <a:gd name="connsiteY4" fmla="*/ 2970966 h 6855043"/>
                <a:gd name="connsiteX5" fmla="*/ 5713067 w 6110968"/>
                <a:gd name="connsiteY5" fmla="*/ 3352181 h 6855043"/>
                <a:gd name="connsiteX6" fmla="*/ 5717858 w 6110968"/>
                <a:gd name="connsiteY6" fmla="*/ 6855043 h 6855043"/>
                <a:gd name="connsiteX7" fmla="*/ 0 w 6110968"/>
                <a:gd name="connsiteY7" fmla="*/ 6855043 h 6855043"/>
                <a:gd name="connsiteX8" fmla="*/ 0 w 6110968"/>
                <a:gd name="connsiteY8" fmla="*/ 0 h 6855043"/>
                <a:gd name="connsiteX0" fmla="*/ 0 w 6125537"/>
                <a:gd name="connsiteY0" fmla="*/ 0 h 6855043"/>
                <a:gd name="connsiteX1" fmla="*/ 5717858 w 6125537"/>
                <a:gd name="connsiteY1" fmla="*/ 0 h 6855043"/>
                <a:gd name="connsiteX2" fmla="*/ 5714999 w 6125537"/>
                <a:gd name="connsiteY2" fmla="*/ 1391289 h 6855043"/>
                <a:gd name="connsiteX3" fmla="*/ 6098107 w 6125537"/>
                <a:gd name="connsiteY3" fmla="*/ 1770215 h 6855043"/>
                <a:gd name="connsiteX4" fmla="*/ 6096858 w 6125537"/>
                <a:gd name="connsiteY4" fmla="*/ 2970966 h 6855043"/>
                <a:gd name="connsiteX5" fmla="*/ 5713067 w 6125537"/>
                <a:gd name="connsiteY5" fmla="*/ 3352181 h 6855043"/>
                <a:gd name="connsiteX6" fmla="*/ 5717858 w 6125537"/>
                <a:gd name="connsiteY6" fmla="*/ 6855043 h 6855043"/>
                <a:gd name="connsiteX7" fmla="*/ 0 w 6125537"/>
                <a:gd name="connsiteY7" fmla="*/ 6855043 h 6855043"/>
                <a:gd name="connsiteX8" fmla="*/ 0 w 612553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5936913 w 6098107"/>
                <a:gd name="connsiteY4" fmla="*/ 2983038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119069"/>
                <a:gd name="connsiteY0" fmla="*/ 0 h 6855043"/>
                <a:gd name="connsiteX1" fmla="*/ 5717858 w 6119069"/>
                <a:gd name="connsiteY1" fmla="*/ 0 h 6855043"/>
                <a:gd name="connsiteX2" fmla="*/ 5714999 w 6119069"/>
                <a:gd name="connsiteY2" fmla="*/ 1391289 h 6855043"/>
                <a:gd name="connsiteX3" fmla="*/ 6098107 w 6119069"/>
                <a:gd name="connsiteY3" fmla="*/ 1770215 h 6855043"/>
                <a:gd name="connsiteX4" fmla="*/ 6087804 w 6119069"/>
                <a:gd name="connsiteY4" fmla="*/ 2964931 h 6855043"/>
                <a:gd name="connsiteX5" fmla="*/ 5713067 w 6119069"/>
                <a:gd name="connsiteY5" fmla="*/ 3352181 h 6855043"/>
                <a:gd name="connsiteX6" fmla="*/ 5717858 w 6119069"/>
                <a:gd name="connsiteY6" fmla="*/ 6855043 h 6855043"/>
                <a:gd name="connsiteX7" fmla="*/ 0 w 6119069"/>
                <a:gd name="connsiteY7" fmla="*/ 6855043 h 6855043"/>
                <a:gd name="connsiteX8" fmla="*/ 0 w 6119069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73985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98107" h="6855043">
                  <a:moveTo>
                    <a:pt x="0" y="0"/>
                  </a:moveTo>
                  <a:lnTo>
                    <a:pt x="5717858" y="0"/>
                  </a:lnTo>
                  <a:lnTo>
                    <a:pt x="5714999" y="1391289"/>
                  </a:lnTo>
                  <a:lnTo>
                    <a:pt x="6098107" y="1770215"/>
                  </a:lnTo>
                  <a:cubicBezTo>
                    <a:pt x="6097356" y="2042939"/>
                    <a:pt x="6094320" y="2706021"/>
                    <a:pt x="6087804" y="2973985"/>
                  </a:cubicBezTo>
                  <a:cubicBezTo>
                    <a:pt x="6087512" y="2985992"/>
                    <a:pt x="5904491" y="3165556"/>
                    <a:pt x="5713067" y="3352181"/>
                  </a:cubicBezTo>
                  <a:cubicBezTo>
                    <a:pt x="5711481" y="3806821"/>
                    <a:pt x="5716261" y="5687422"/>
                    <a:pt x="5717858" y="6855043"/>
                  </a:cubicBezTo>
                  <a:lnTo>
                    <a:pt x="0" y="6855043"/>
                  </a:lnTo>
                  <a:lnTo>
                    <a:pt x="0" y="0"/>
                  </a:lnTo>
                  <a:close/>
                </a:path>
              </a:pathLst>
            </a:custGeom>
          </p:spPr>
          <p:txBody>
            <a:bodyPr/>
            <a:lstStyle/>
            <a:p>
              <a:pPr lvl="0" indent="0">
                <a:lnSpc>
                  <a:spcPts val="4000"/>
                </a:lnSpc>
                <a:spcBef>
                  <a:spcPts val="0"/>
                </a:spcBef>
                <a:buFont typeface="Arial" panose="020B0604020202020204" pitchFamily="34" charset="0"/>
                <a:buNone/>
              </a:pPr>
              <a:endParaRPr lang="ru-RU" sz="6000" b="0" i="0" spc="-150" baseline="0" dirty="0">
                <a:solidFill>
                  <a:srgbClr val="80BC00"/>
                </a:solidFill>
                <a:latin typeface="Arial Narrow" panose="020B0604020202020204" pitchFamily="34" charset="0"/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4939469" y="0"/>
              <a:ext cx="7252531" cy="478564"/>
            </a:xfrm>
            <a:prstGeom prst="rect">
              <a:avLst/>
            </a:prstGeom>
          </p:spPr>
          <p:txBody>
            <a:bodyPr/>
            <a:lstStyle/>
            <a:p>
              <a:pPr lvl="0" indent="0">
                <a:lnSpc>
                  <a:spcPts val="4000"/>
                </a:lnSpc>
                <a:spcBef>
                  <a:spcPts val="0"/>
                </a:spcBef>
                <a:buFont typeface="Arial" panose="020B0604020202020204" pitchFamily="34" charset="0"/>
                <a:buNone/>
              </a:pPr>
              <a:endParaRPr lang="ru-RU" sz="6000" b="0" i="0" spc="-150" baseline="0" dirty="0">
                <a:solidFill>
                  <a:srgbClr val="80BC00"/>
                </a:solidFill>
                <a:latin typeface="Arial Narrow" panose="020B0604020202020204" pitchFamily="34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4939469" y="6389909"/>
              <a:ext cx="7252531" cy="478564"/>
            </a:xfrm>
            <a:prstGeom prst="rect">
              <a:avLst/>
            </a:prstGeom>
          </p:spPr>
          <p:txBody>
            <a:bodyPr/>
            <a:lstStyle/>
            <a:p>
              <a:pPr lvl="0" indent="0">
                <a:lnSpc>
                  <a:spcPts val="4000"/>
                </a:lnSpc>
                <a:spcBef>
                  <a:spcPts val="0"/>
                </a:spcBef>
                <a:buFont typeface="Arial" panose="020B0604020202020204" pitchFamily="34" charset="0"/>
                <a:buNone/>
              </a:pPr>
              <a:endParaRPr lang="ru-RU" sz="6000" b="0" i="0" spc="-150" baseline="0" dirty="0">
                <a:solidFill>
                  <a:srgbClr val="80BC00"/>
                </a:solidFill>
                <a:latin typeface="Arial Narrow" panose="020B0604020202020204" pitchFamily="34" charset="0"/>
              </a:endParaRPr>
            </a:p>
          </p:txBody>
        </p:sp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15"/>
          <p:cNvSpPr>
            <a:spLocks noGrp="1"/>
          </p:cNvSpPr>
          <p:nvPr>
            <p:ph type="body" sz="quarter" idx="11" hasCustomPrompt="1"/>
          </p:nvPr>
        </p:nvSpPr>
        <p:spPr>
          <a:xfrm>
            <a:off x="559278" y="3797760"/>
            <a:ext cx="4826000" cy="4220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/>
            </a:lvl1pPr>
          </a:lstStyle>
          <a:p>
            <a:pPr lvl="0"/>
            <a:r>
              <a:rPr lang="ru-RU" dirty="0"/>
              <a:t>Фамилия Имя Отчество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535466" y="4163396"/>
            <a:ext cx="4849812" cy="6752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i="1" baseline="0"/>
            </a:lvl1pPr>
          </a:lstStyle>
          <a:p>
            <a:pPr lvl="0"/>
            <a:r>
              <a:rPr lang="ru-RU" dirty="0"/>
              <a:t>Должность докладчика</a:t>
            </a:r>
          </a:p>
        </p:txBody>
      </p:sp>
      <p:pic>
        <p:nvPicPr>
          <p:cNvPr id="15" name="Рисунок 27">
            <a:extLst>
              <a:ext uri="{FF2B5EF4-FFF2-40B4-BE49-F238E27FC236}">
                <a16:creationId xmlns:a16="http://schemas.microsoft.com/office/drawing/2014/main" id="{F8A4A08E-24BD-1342-BA6C-BFF6BD2CE17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18444" y="5834587"/>
            <a:ext cx="1995565" cy="552266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87D8DDF-0688-7F49-BC4A-E6986E1974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444" y="1680310"/>
            <a:ext cx="5046015" cy="11692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00"/>
              </a:lnSpc>
              <a:buNone/>
              <a:defRPr sz="40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ПРИМЕР ЗАГОЛОВКА НЕ БОЛЕЕ ДВУХ СТРОК</a:t>
            </a:r>
          </a:p>
        </p:txBody>
      </p:sp>
    </p:spTree>
    <p:extLst>
      <p:ext uri="{BB962C8B-B14F-4D97-AF65-F5344CB8AC3E}">
        <p14:creationId xmlns:p14="http://schemas.microsoft.com/office/powerpoint/2010/main" val="1157427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олилиния 4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0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12" name="Диаграмма 16"/>
          <p:cNvSpPr>
            <a:spLocks noGrp="1"/>
          </p:cNvSpPr>
          <p:nvPr>
            <p:ph type="chart" sz="quarter" idx="23" hasCustomPrompt="1"/>
          </p:nvPr>
        </p:nvSpPr>
        <p:spPr>
          <a:xfrm>
            <a:off x="587374" y="2200406"/>
            <a:ext cx="11124621" cy="296402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Добавьте диаграмму</a:t>
            </a: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6092286" y="6304243"/>
            <a:ext cx="0" cy="360000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27">
            <a:extLst>
              <a:ext uri="{FF2B5EF4-FFF2-40B4-BE49-F238E27FC236}">
                <a16:creationId xmlns:a16="http://schemas.microsoft.com/office/drawing/2014/main" id="{79EC6450-5388-BA43-9C1E-30AE5C2C1E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3ECE574-B3DB-B948-B4F8-EBC78AAB81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9003449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graph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олилиния 8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4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16" name="Диаграмма 16"/>
          <p:cNvSpPr>
            <a:spLocks noGrp="1"/>
          </p:cNvSpPr>
          <p:nvPr>
            <p:ph type="chart" sz="quarter" idx="23" hasCustomPrompt="1"/>
          </p:nvPr>
        </p:nvSpPr>
        <p:spPr>
          <a:xfrm>
            <a:off x="587375" y="2081844"/>
            <a:ext cx="5364162" cy="15472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Добавьте диаграмму</a:t>
            </a:r>
          </a:p>
        </p:txBody>
      </p:sp>
      <p:sp>
        <p:nvSpPr>
          <p:cNvPr id="18" name="Диаграмма 16"/>
          <p:cNvSpPr>
            <a:spLocks noGrp="1"/>
          </p:cNvSpPr>
          <p:nvPr>
            <p:ph type="chart" sz="quarter" idx="24" hasCustomPrompt="1"/>
          </p:nvPr>
        </p:nvSpPr>
        <p:spPr>
          <a:xfrm>
            <a:off x="6248348" y="2081844"/>
            <a:ext cx="5465813" cy="15472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Добавьте диаграмму</a:t>
            </a:r>
          </a:p>
        </p:txBody>
      </p:sp>
      <p:sp>
        <p:nvSpPr>
          <p:cNvPr id="21" name="Диаграмма 16"/>
          <p:cNvSpPr>
            <a:spLocks noGrp="1"/>
          </p:cNvSpPr>
          <p:nvPr>
            <p:ph type="chart" sz="quarter" idx="25" hasCustomPrompt="1"/>
          </p:nvPr>
        </p:nvSpPr>
        <p:spPr>
          <a:xfrm>
            <a:off x="587374" y="4298298"/>
            <a:ext cx="5364162" cy="15472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Добавьте диаграмму</a:t>
            </a:r>
          </a:p>
        </p:txBody>
      </p:sp>
      <p:sp>
        <p:nvSpPr>
          <p:cNvPr id="22" name="Диаграмма 16"/>
          <p:cNvSpPr>
            <a:spLocks noGrp="1"/>
          </p:cNvSpPr>
          <p:nvPr>
            <p:ph type="chart" sz="quarter" idx="26" hasCustomPrompt="1"/>
          </p:nvPr>
        </p:nvSpPr>
        <p:spPr>
          <a:xfrm>
            <a:off x="6248347" y="4298298"/>
            <a:ext cx="5465813" cy="15472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Добавьте диаграмму</a:t>
            </a:r>
          </a:p>
        </p:txBody>
      </p:sp>
      <p:cxnSp>
        <p:nvCxnSpPr>
          <p:cNvPr id="15" name="Прямая соединительная линия 14"/>
          <p:cNvCxnSpPr/>
          <p:nvPr userDrawn="1"/>
        </p:nvCxnSpPr>
        <p:spPr>
          <a:xfrm>
            <a:off x="6092286" y="6304243"/>
            <a:ext cx="0" cy="360000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27">
            <a:extLst>
              <a:ext uri="{FF2B5EF4-FFF2-40B4-BE49-F238E27FC236}">
                <a16:creationId xmlns:a16="http://schemas.microsoft.com/office/drawing/2014/main" id="{993D4D98-FC9B-3B47-9628-537D38D10F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86C4659-6B3C-0D49-BD18-641880E2D2E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386230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олилиния 4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0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6092286" y="6304243"/>
            <a:ext cx="0" cy="360000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27">
            <a:extLst>
              <a:ext uri="{FF2B5EF4-FFF2-40B4-BE49-F238E27FC236}">
                <a16:creationId xmlns:a16="http://schemas.microsoft.com/office/drawing/2014/main" id="{D11BB3EE-2B61-0B45-B154-8343E062F8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0BD8109-7332-A846-B7ED-2829D0958D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11426895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олилиния 4"/>
          <p:cNvSpPr/>
          <p:nvPr userDrawn="1"/>
        </p:nvSpPr>
        <p:spPr>
          <a:xfrm>
            <a:off x="605881" y="405784"/>
            <a:ext cx="118357" cy="605704"/>
          </a:xfrm>
          <a:custGeom>
            <a:avLst/>
            <a:gdLst>
              <a:gd name="connsiteX0" fmla="*/ 18661 w 83534"/>
              <a:gd name="connsiteY0" fmla="*/ 0 h 712859"/>
              <a:gd name="connsiteX1" fmla="*/ 14929 w 83534"/>
              <a:gd name="connsiteY1" fmla="*/ 52251 h 712859"/>
              <a:gd name="connsiteX2" fmla="*/ 11197 w 83534"/>
              <a:gd name="connsiteY2" fmla="*/ 85842 h 712859"/>
              <a:gd name="connsiteX3" fmla="*/ 7465 w 83534"/>
              <a:gd name="connsiteY3" fmla="*/ 160486 h 712859"/>
              <a:gd name="connsiteX4" fmla="*/ 0 w 83534"/>
              <a:gd name="connsiteY4" fmla="*/ 712859 h 712859"/>
              <a:gd name="connsiteX0" fmla="*/ 304091 w 328151"/>
              <a:gd name="connsiteY0" fmla="*/ 0 h 712859"/>
              <a:gd name="connsiteX1" fmla="*/ 300359 w 328151"/>
              <a:gd name="connsiteY1" fmla="*/ 52251 h 712859"/>
              <a:gd name="connsiteX2" fmla="*/ 296627 w 328151"/>
              <a:gd name="connsiteY2" fmla="*/ 85842 h 712859"/>
              <a:gd name="connsiteX3" fmla="*/ 2 w 328151"/>
              <a:gd name="connsiteY3" fmla="*/ 281930 h 712859"/>
              <a:gd name="connsiteX4" fmla="*/ 285430 w 328151"/>
              <a:gd name="connsiteY4" fmla="*/ 712859 h 712859"/>
              <a:gd name="connsiteX0" fmla="*/ 304091 w 762158"/>
              <a:gd name="connsiteY0" fmla="*/ 0 h 834303"/>
              <a:gd name="connsiteX1" fmla="*/ 300359 w 762158"/>
              <a:gd name="connsiteY1" fmla="*/ 52251 h 834303"/>
              <a:gd name="connsiteX2" fmla="*/ 296627 w 762158"/>
              <a:gd name="connsiteY2" fmla="*/ 85842 h 834303"/>
              <a:gd name="connsiteX3" fmla="*/ 2 w 762158"/>
              <a:gd name="connsiteY3" fmla="*/ 281930 h 834303"/>
              <a:gd name="connsiteX4" fmla="*/ 737867 w 762158"/>
              <a:gd name="connsiteY4" fmla="*/ 834303 h 834303"/>
              <a:gd name="connsiteX0" fmla="*/ 304091 w 737867"/>
              <a:gd name="connsiteY0" fmla="*/ 0 h 834303"/>
              <a:gd name="connsiteX1" fmla="*/ 300359 w 737867"/>
              <a:gd name="connsiteY1" fmla="*/ 52251 h 834303"/>
              <a:gd name="connsiteX2" fmla="*/ 296627 w 737867"/>
              <a:gd name="connsiteY2" fmla="*/ 85842 h 834303"/>
              <a:gd name="connsiteX3" fmla="*/ 2 w 737867"/>
              <a:gd name="connsiteY3" fmla="*/ 281930 h 834303"/>
              <a:gd name="connsiteX4" fmla="*/ 737867 w 737867"/>
              <a:gd name="connsiteY4" fmla="*/ 834303 h 834303"/>
              <a:gd name="connsiteX0" fmla="*/ 220749 w 654525"/>
              <a:gd name="connsiteY0" fmla="*/ 0 h 834303"/>
              <a:gd name="connsiteX1" fmla="*/ 217017 w 654525"/>
              <a:gd name="connsiteY1" fmla="*/ 52251 h 834303"/>
              <a:gd name="connsiteX2" fmla="*/ 213285 w 654525"/>
              <a:gd name="connsiteY2" fmla="*/ 85842 h 834303"/>
              <a:gd name="connsiteX3" fmla="*/ 4 w 654525"/>
              <a:gd name="connsiteY3" fmla="*/ 665311 h 834303"/>
              <a:gd name="connsiteX4" fmla="*/ 654525 w 654525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274 w 732050"/>
              <a:gd name="connsiteY0" fmla="*/ 0 h 834303"/>
              <a:gd name="connsiteX1" fmla="*/ 294542 w 732050"/>
              <a:gd name="connsiteY1" fmla="*/ 52251 h 834303"/>
              <a:gd name="connsiteX2" fmla="*/ 7441 w 732050"/>
              <a:gd name="connsiteY2" fmla="*/ 138230 h 834303"/>
              <a:gd name="connsiteX3" fmla="*/ 77529 w 732050"/>
              <a:gd name="connsiteY3" fmla="*/ 665311 h 834303"/>
              <a:gd name="connsiteX4" fmla="*/ 732050 w 732050"/>
              <a:gd name="connsiteY4" fmla="*/ 834303 h 834303"/>
              <a:gd name="connsiteX0" fmla="*/ 298471 w 732247"/>
              <a:gd name="connsiteY0" fmla="*/ 0 h 834303"/>
              <a:gd name="connsiteX1" fmla="*/ 7638 w 732247"/>
              <a:gd name="connsiteY1" fmla="*/ 138230 h 834303"/>
              <a:gd name="connsiteX2" fmla="*/ 77726 w 732247"/>
              <a:gd name="connsiteY2" fmla="*/ 665311 h 834303"/>
              <a:gd name="connsiteX3" fmla="*/ 732247 w 732247"/>
              <a:gd name="connsiteY3" fmla="*/ 834303 h 834303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213562 w 728301"/>
              <a:gd name="connsiteY0" fmla="*/ 0 h 839066"/>
              <a:gd name="connsiteX1" fmla="*/ 3692 w 728301"/>
              <a:gd name="connsiteY1" fmla="*/ 142993 h 839066"/>
              <a:gd name="connsiteX2" fmla="*/ 73780 w 728301"/>
              <a:gd name="connsiteY2" fmla="*/ 670074 h 839066"/>
              <a:gd name="connsiteX3" fmla="*/ 728301 w 728301"/>
              <a:gd name="connsiteY3" fmla="*/ 839066 h 839066"/>
              <a:gd name="connsiteX0" fmla="*/ 139786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1217 w 654525"/>
              <a:gd name="connsiteY0" fmla="*/ 0 h 839066"/>
              <a:gd name="connsiteX1" fmla="*/ 44216 w 654525"/>
              <a:gd name="connsiteY1" fmla="*/ 119180 h 839066"/>
              <a:gd name="connsiteX2" fmla="*/ 4 w 654525"/>
              <a:gd name="connsiteY2" fmla="*/ 670074 h 839066"/>
              <a:gd name="connsiteX3" fmla="*/ 654525 w 654525"/>
              <a:gd name="connsiteY3" fmla="*/ 839066 h 839066"/>
              <a:gd name="connsiteX0" fmla="*/ 168232 w 661540"/>
              <a:gd name="connsiteY0" fmla="*/ 0 h 839066"/>
              <a:gd name="connsiteX1" fmla="*/ 51231 w 661540"/>
              <a:gd name="connsiteY1" fmla="*/ 119180 h 839066"/>
              <a:gd name="connsiteX2" fmla="*/ 7019 w 661540"/>
              <a:gd name="connsiteY2" fmla="*/ 670074 h 839066"/>
              <a:gd name="connsiteX3" fmla="*/ 661540 w 661540"/>
              <a:gd name="connsiteY3" fmla="*/ 839066 h 839066"/>
              <a:gd name="connsiteX0" fmla="*/ 125843 w 619151"/>
              <a:gd name="connsiteY0" fmla="*/ 0 h 839066"/>
              <a:gd name="connsiteX1" fmla="*/ 8842 w 619151"/>
              <a:gd name="connsiteY1" fmla="*/ 119180 h 839066"/>
              <a:gd name="connsiteX2" fmla="*/ 7493 w 619151"/>
              <a:gd name="connsiteY2" fmla="*/ 484336 h 839066"/>
              <a:gd name="connsiteX3" fmla="*/ 619151 w 619151"/>
              <a:gd name="connsiteY3" fmla="*/ 839066 h 839066"/>
              <a:gd name="connsiteX0" fmla="*/ 186851 w 186851"/>
              <a:gd name="connsiteY0" fmla="*/ 0 h 605704"/>
              <a:gd name="connsiteX1" fmla="*/ 69850 w 186851"/>
              <a:gd name="connsiteY1" fmla="*/ 119180 h 605704"/>
              <a:gd name="connsiteX2" fmla="*/ 68501 w 186851"/>
              <a:gd name="connsiteY2" fmla="*/ 484336 h 605704"/>
              <a:gd name="connsiteX3" fmla="*/ 184859 w 186851"/>
              <a:gd name="connsiteY3" fmla="*/ 605704 h 605704"/>
              <a:gd name="connsiteX0" fmla="*/ 125843 w 125843"/>
              <a:gd name="connsiteY0" fmla="*/ 0 h 605704"/>
              <a:gd name="connsiteX1" fmla="*/ 8842 w 125843"/>
              <a:gd name="connsiteY1" fmla="*/ 119180 h 605704"/>
              <a:gd name="connsiteX2" fmla="*/ 7493 w 125843"/>
              <a:gd name="connsiteY2" fmla="*/ 484336 h 605704"/>
              <a:gd name="connsiteX3" fmla="*/ 123851 w 125843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26091 w 126091"/>
              <a:gd name="connsiteY0" fmla="*/ 0 h 605704"/>
              <a:gd name="connsiteX1" fmla="*/ 9090 w 126091"/>
              <a:gd name="connsiteY1" fmla="*/ 119180 h 605704"/>
              <a:gd name="connsiteX2" fmla="*/ 7741 w 126091"/>
              <a:gd name="connsiteY2" fmla="*/ 484336 h 605704"/>
              <a:gd name="connsiteX3" fmla="*/ 124099 w 126091"/>
              <a:gd name="connsiteY3" fmla="*/ 605704 h 605704"/>
              <a:gd name="connsiteX0" fmla="*/ 119502 w 119502"/>
              <a:gd name="connsiteY0" fmla="*/ 0 h 605704"/>
              <a:gd name="connsiteX1" fmla="*/ 2501 w 119502"/>
              <a:gd name="connsiteY1" fmla="*/ 119180 h 605704"/>
              <a:gd name="connsiteX2" fmla="*/ 1152 w 119502"/>
              <a:gd name="connsiteY2" fmla="*/ 484336 h 605704"/>
              <a:gd name="connsiteX3" fmla="*/ 117510 w 119502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8480 w 118480"/>
              <a:gd name="connsiteY0" fmla="*/ 0 h 605704"/>
              <a:gd name="connsiteX1" fmla="*/ 1479 w 118480"/>
              <a:gd name="connsiteY1" fmla="*/ 119180 h 605704"/>
              <a:gd name="connsiteX2" fmla="*/ 130 w 118480"/>
              <a:gd name="connsiteY2" fmla="*/ 484336 h 605704"/>
              <a:gd name="connsiteX3" fmla="*/ 116488 w 118480"/>
              <a:gd name="connsiteY3" fmla="*/ 605704 h 605704"/>
              <a:gd name="connsiteX0" fmla="*/ 119213 w 119213"/>
              <a:gd name="connsiteY0" fmla="*/ 0 h 605704"/>
              <a:gd name="connsiteX1" fmla="*/ 2212 w 119213"/>
              <a:gd name="connsiteY1" fmla="*/ 119180 h 605704"/>
              <a:gd name="connsiteX2" fmla="*/ 863 w 119213"/>
              <a:gd name="connsiteY2" fmla="*/ 484336 h 605704"/>
              <a:gd name="connsiteX3" fmla="*/ 117221 w 119213"/>
              <a:gd name="connsiteY3" fmla="*/ 605704 h 605704"/>
              <a:gd name="connsiteX0" fmla="*/ 118382 w 118382"/>
              <a:gd name="connsiteY0" fmla="*/ 0 h 605704"/>
              <a:gd name="connsiteX1" fmla="*/ 1381 w 118382"/>
              <a:gd name="connsiteY1" fmla="*/ 119180 h 605704"/>
              <a:gd name="connsiteX2" fmla="*/ 32 w 118382"/>
              <a:gd name="connsiteY2" fmla="*/ 484336 h 605704"/>
              <a:gd name="connsiteX3" fmla="*/ 116390 w 118382"/>
              <a:gd name="connsiteY3" fmla="*/ 605704 h 605704"/>
              <a:gd name="connsiteX0" fmla="*/ 126540 w 126540"/>
              <a:gd name="connsiteY0" fmla="*/ 0 h 605704"/>
              <a:gd name="connsiteX1" fmla="*/ 9539 w 126540"/>
              <a:gd name="connsiteY1" fmla="*/ 119180 h 605704"/>
              <a:gd name="connsiteX2" fmla="*/ 8190 w 126540"/>
              <a:gd name="connsiteY2" fmla="*/ 484336 h 605704"/>
              <a:gd name="connsiteX3" fmla="*/ 124548 w 126540"/>
              <a:gd name="connsiteY3" fmla="*/ 605704 h 605704"/>
              <a:gd name="connsiteX0" fmla="*/ 118357 w 118357"/>
              <a:gd name="connsiteY0" fmla="*/ 0 h 605704"/>
              <a:gd name="connsiteX1" fmla="*/ 1356 w 118357"/>
              <a:gd name="connsiteY1" fmla="*/ 119180 h 605704"/>
              <a:gd name="connsiteX2" fmla="*/ 7 w 118357"/>
              <a:gd name="connsiteY2" fmla="*/ 484336 h 605704"/>
              <a:gd name="connsiteX3" fmla="*/ 116365 w 118357"/>
              <a:gd name="connsiteY3" fmla="*/ 605704 h 60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357" h="605704">
                <a:moveTo>
                  <a:pt x="118357" y="0"/>
                </a:moveTo>
                <a:cubicBezTo>
                  <a:pt x="69673" y="59755"/>
                  <a:pt x="1393" y="119565"/>
                  <a:pt x="1356" y="119180"/>
                </a:cubicBezTo>
                <a:cubicBezTo>
                  <a:pt x="1319" y="118795"/>
                  <a:pt x="-111" y="481830"/>
                  <a:pt x="7" y="484336"/>
                </a:cubicBezTo>
                <a:cubicBezTo>
                  <a:pt x="125" y="486842"/>
                  <a:pt x="33806" y="524741"/>
                  <a:pt x="116365" y="605704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 userDrawn="1"/>
        </p:nvSpPr>
        <p:spPr>
          <a:xfrm>
            <a:off x="11057860" y="645074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5AFE035-3A25-DC48-8449-7992F5FCA9F7}" type="slidenum">
              <a:rPr lang="ru-RU" sz="1400" smtClean="0"/>
              <a:t>‹#›</a:t>
            </a:fld>
            <a:endParaRPr lang="ru-RU" sz="1400" dirty="0"/>
          </a:p>
        </p:txBody>
      </p:sp>
      <p:sp>
        <p:nvSpPr>
          <p:cNvPr id="10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865285" y="691562"/>
            <a:ext cx="5064688" cy="317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spc="-150" baseline="0"/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24" name="Текст 13"/>
          <p:cNvSpPr>
            <a:spLocks noGrp="1"/>
          </p:cNvSpPr>
          <p:nvPr>
            <p:ph type="body" sz="quarter" idx="20" hasCustomPrompt="1"/>
          </p:nvPr>
        </p:nvSpPr>
        <p:spPr>
          <a:xfrm>
            <a:off x="478389" y="3247511"/>
            <a:ext cx="3602116" cy="25561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80BC00"/>
              </a:buClr>
              <a:buFont typeface="Arial" charset="0"/>
              <a:buChar char="•"/>
              <a:defRPr sz="18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5" name="Рисунок 12"/>
          <p:cNvSpPr>
            <a:spLocks noGrp="1"/>
          </p:cNvSpPr>
          <p:nvPr>
            <p:ph type="pic" sz="quarter" idx="14" hasCustomPrompt="1"/>
          </p:nvPr>
        </p:nvSpPr>
        <p:spPr>
          <a:xfrm>
            <a:off x="479945" y="1755776"/>
            <a:ext cx="3595167" cy="150018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sp>
        <p:nvSpPr>
          <p:cNvPr id="26" name="Рисунок 12"/>
          <p:cNvSpPr>
            <a:spLocks noGrp="1"/>
          </p:cNvSpPr>
          <p:nvPr>
            <p:ph type="pic" sz="quarter" idx="21" hasCustomPrompt="1"/>
          </p:nvPr>
        </p:nvSpPr>
        <p:spPr>
          <a:xfrm>
            <a:off x="4168274" y="1755775"/>
            <a:ext cx="3551282" cy="150018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sp>
        <p:nvSpPr>
          <p:cNvPr id="27" name="Рисунок 12"/>
          <p:cNvSpPr>
            <a:spLocks noGrp="1"/>
          </p:cNvSpPr>
          <p:nvPr>
            <p:ph type="pic" sz="quarter" idx="22" hasCustomPrompt="1"/>
          </p:nvPr>
        </p:nvSpPr>
        <p:spPr>
          <a:xfrm>
            <a:off x="7812716" y="1755775"/>
            <a:ext cx="3591884" cy="150018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sp>
        <p:nvSpPr>
          <p:cNvPr id="28" name="Текст 13"/>
          <p:cNvSpPr>
            <a:spLocks noGrp="1"/>
          </p:cNvSpPr>
          <p:nvPr>
            <p:ph type="body" sz="quarter" idx="23" hasCustomPrompt="1"/>
          </p:nvPr>
        </p:nvSpPr>
        <p:spPr>
          <a:xfrm>
            <a:off x="4164443" y="3247511"/>
            <a:ext cx="3555112" cy="25561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Font typeface="Arial" charset="0"/>
              <a:buChar char="•"/>
              <a:defRPr sz="1800" baseline="0"/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9" name="Текст 13"/>
          <p:cNvSpPr>
            <a:spLocks noGrp="1"/>
          </p:cNvSpPr>
          <p:nvPr>
            <p:ph type="body" sz="quarter" idx="24" hasCustomPrompt="1"/>
          </p:nvPr>
        </p:nvSpPr>
        <p:spPr>
          <a:xfrm>
            <a:off x="7810042" y="3247510"/>
            <a:ext cx="3594558" cy="25561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Font typeface="Arial" charset="0"/>
              <a:buChar char="•"/>
              <a:defRPr lang="ru-RU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6092286" y="6304243"/>
            <a:ext cx="0" cy="360000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27">
            <a:extLst>
              <a:ext uri="{FF2B5EF4-FFF2-40B4-BE49-F238E27FC236}">
                <a16:creationId xmlns:a16="http://schemas.microsoft.com/office/drawing/2014/main" id="{CF554CFA-DDED-FD40-BF2C-F2C9632A45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05625"/>
            <a:ext cx="1457294" cy="403301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D6D1F61-7A18-5E4C-AB23-6AF09ABDE5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0317" y="391031"/>
            <a:ext cx="5064688" cy="3029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0"/>
              </a:lnSpc>
              <a:buNone/>
              <a:defRPr sz="24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15748511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187539" y="401782"/>
            <a:ext cx="7650123" cy="5960525"/>
          </a:xfrm>
          <a:prstGeom prst="rect">
            <a:avLst/>
          </a:prstGeom>
        </p:spPr>
      </p:pic>
      <p:grpSp>
        <p:nvGrpSpPr>
          <p:cNvPr id="6" name="Группа 5"/>
          <p:cNvGrpSpPr/>
          <p:nvPr userDrawn="1"/>
        </p:nvGrpSpPr>
        <p:grpSpPr>
          <a:xfrm>
            <a:off x="-11084" y="1"/>
            <a:ext cx="5201393" cy="6857999"/>
            <a:chOff x="-11084" y="1"/>
            <a:chExt cx="5201393" cy="6857999"/>
          </a:xfrm>
          <a:solidFill>
            <a:schemeClr val="bg1"/>
          </a:solidFill>
        </p:grpSpPr>
        <p:sp>
          <p:nvSpPr>
            <p:cNvPr id="7" name="Прямоугольник 2"/>
            <p:cNvSpPr/>
            <p:nvPr/>
          </p:nvSpPr>
          <p:spPr>
            <a:xfrm>
              <a:off x="-11084" y="1"/>
              <a:ext cx="5087389" cy="803564"/>
            </a:xfrm>
            <a:custGeom>
              <a:avLst/>
              <a:gdLst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0 w 5076305"/>
                <a:gd name="connsiteY3" fmla="*/ 471055 h 471055"/>
                <a:gd name="connsiteX4" fmla="*/ 0 w 5076305"/>
                <a:gd name="connsiteY4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71156 w 5076305"/>
                <a:gd name="connsiteY3" fmla="*/ 471055 h 471055"/>
                <a:gd name="connsiteX4" fmla="*/ 0 w 5076305"/>
                <a:gd name="connsiteY4" fmla="*/ 471055 h 471055"/>
                <a:gd name="connsiteX5" fmla="*/ 0 w 5076305"/>
                <a:gd name="connsiteY5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87781 w 5076305"/>
                <a:gd name="connsiteY3" fmla="*/ 471055 h 471055"/>
                <a:gd name="connsiteX4" fmla="*/ 0 w 5076305"/>
                <a:gd name="connsiteY4" fmla="*/ 471055 h 471055"/>
                <a:gd name="connsiteX5" fmla="*/ 0 w 5076305"/>
                <a:gd name="connsiteY5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87781 w 5076305"/>
                <a:gd name="connsiteY3" fmla="*/ 471055 h 471055"/>
                <a:gd name="connsiteX4" fmla="*/ 0 w 5076305"/>
                <a:gd name="connsiteY4" fmla="*/ 471055 h 471055"/>
                <a:gd name="connsiteX5" fmla="*/ 0 w 5076305"/>
                <a:gd name="connsiteY5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87781 w 5076305"/>
                <a:gd name="connsiteY3" fmla="*/ 471055 h 471055"/>
                <a:gd name="connsiteX4" fmla="*/ 2067098 w 5076305"/>
                <a:gd name="connsiteY4" fmla="*/ 471055 h 471055"/>
                <a:gd name="connsiteX5" fmla="*/ 0 w 5076305"/>
                <a:gd name="connsiteY5" fmla="*/ 471055 h 471055"/>
                <a:gd name="connsiteX6" fmla="*/ 0 w 5076305"/>
                <a:gd name="connsiteY6" fmla="*/ 0 h 471055"/>
                <a:gd name="connsiteX0" fmla="*/ 0 w 5076305"/>
                <a:gd name="connsiteY0" fmla="*/ 0 h 803564"/>
                <a:gd name="connsiteX1" fmla="*/ 5076305 w 5076305"/>
                <a:gd name="connsiteY1" fmla="*/ 0 h 803564"/>
                <a:gd name="connsiteX2" fmla="*/ 5076305 w 5076305"/>
                <a:gd name="connsiteY2" fmla="*/ 471055 h 803564"/>
                <a:gd name="connsiteX3" fmla="*/ 2687781 w 5076305"/>
                <a:gd name="connsiteY3" fmla="*/ 471055 h 803564"/>
                <a:gd name="connsiteX4" fmla="*/ 2349731 w 5076305"/>
                <a:gd name="connsiteY4" fmla="*/ 803564 h 803564"/>
                <a:gd name="connsiteX5" fmla="*/ 0 w 5076305"/>
                <a:gd name="connsiteY5" fmla="*/ 471055 h 803564"/>
                <a:gd name="connsiteX6" fmla="*/ 0 w 5076305"/>
                <a:gd name="connsiteY6" fmla="*/ 0 h 803564"/>
                <a:gd name="connsiteX0" fmla="*/ 5542 w 5081847"/>
                <a:gd name="connsiteY0" fmla="*/ 0 h 809106"/>
                <a:gd name="connsiteX1" fmla="*/ 5081847 w 5081847"/>
                <a:gd name="connsiteY1" fmla="*/ 0 h 809106"/>
                <a:gd name="connsiteX2" fmla="*/ 5081847 w 5081847"/>
                <a:gd name="connsiteY2" fmla="*/ 471055 h 809106"/>
                <a:gd name="connsiteX3" fmla="*/ 2693323 w 5081847"/>
                <a:gd name="connsiteY3" fmla="*/ 471055 h 809106"/>
                <a:gd name="connsiteX4" fmla="*/ 2355273 w 5081847"/>
                <a:gd name="connsiteY4" fmla="*/ 803564 h 809106"/>
                <a:gd name="connsiteX5" fmla="*/ 0 w 5081847"/>
                <a:gd name="connsiteY5" fmla="*/ 809106 h 809106"/>
                <a:gd name="connsiteX6" fmla="*/ 5542 w 5081847"/>
                <a:gd name="connsiteY6" fmla="*/ 0 h 809106"/>
                <a:gd name="connsiteX0" fmla="*/ 11084 w 5087389"/>
                <a:gd name="connsiteY0" fmla="*/ 0 h 803564"/>
                <a:gd name="connsiteX1" fmla="*/ 5087389 w 5087389"/>
                <a:gd name="connsiteY1" fmla="*/ 0 h 803564"/>
                <a:gd name="connsiteX2" fmla="*/ 5087389 w 5087389"/>
                <a:gd name="connsiteY2" fmla="*/ 471055 h 803564"/>
                <a:gd name="connsiteX3" fmla="*/ 2698865 w 5087389"/>
                <a:gd name="connsiteY3" fmla="*/ 471055 h 803564"/>
                <a:gd name="connsiteX4" fmla="*/ 2360815 w 5087389"/>
                <a:gd name="connsiteY4" fmla="*/ 803564 h 803564"/>
                <a:gd name="connsiteX5" fmla="*/ 0 w 5087389"/>
                <a:gd name="connsiteY5" fmla="*/ 798023 h 803564"/>
                <a:gd name="connsiteX6" fmla="*/ 11084 w 5087389"/>
                <a:gd name="connsiteY6" fmla="*/ 0 h 803564"/>
                <a:gd name="connsiteX0" fmla="*/ 11084 w 5087389"/>
                <a:gd name="connsiteY0" fmla="*/ 0 h 803564"/>
                <a:gd name="connsiteX1" fmla="*/ 5087389 w 5087389"/>
                <a:gd name="connsiteY1" fmla="*/ 0 h 803564"/>
                <a:gd name="connsiteX2" fmla="*/ 5087389 w 5087389"/>
                <a:gd name="connsiteY2" fmla="*/ 471055 h 803564"/>
                <a:gd name="connsiteX3" fmla="*/ 2698865 w 5087389"/>
                <a:gd name="connsiteY3" fmla="*/ 471055 h 803564"/>
                <a:gd name="connsiteX4" fmla="*/ 2360815 w 5087389"/>
                <a:gd name="connsiteY4" fmla="*/ 803564 h 803564"/>
                <a:gd name="connsiteX5" fmla="*/ 0 w 5087389"/>
                <a:gd name="connsiteY5" fmla="*/ 798023 h 803564"/>
                <a:gd name="connsiteX6" fmla="*/ 11084 w 5087389"/>
                <a:gd name="connsiteY6" fmla="*/ 0 h 80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87389" h="803564">
                  <a:moveTo>
                    <a:pt x="11084" y="0"/>
                  </a:moveTo>
                  <a:lnTo>
                    <a:pt x="5087389" y="0"/>
                  </a:lnTo>
                  <a:lnTo>
                    <a:pt x="5087389" y="471055"/>
                  </a:lnTo>
                  <a:lnTo>
                    <a:pt x="2698865" y="471055"/>
                  </a:lnTo>
                  <a:lnTo>
                    <a:pt x="2360815" y="803564"/>
                  </a:lnTo>
                  <a:lnTo>
                    <a:pt x="0" y="798023"/>
                  </a:lnTo>
                  <a:cubicBezTo>
                    <a:pt x="1847" y="528321"/>
                    <a:pt x="9237" y="269702"/>
                    <a:pt x="1108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Прямоугольник 2"/>
            <p:cNvSpPr/>
            <p:nvPr/>
          </p:nvSpPr>
          <p:spPr>
            <a:xfrm flipV="1">
              <a:off x="-11084" y="6049370"/>
              <a:ext cx="5087389" cy="803564"/>
            </a:xfrm>
            <a:custGeom>
              <a:avLst/>
              <a:gdLst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0 w 5076305"/>
                <a:gd name="connsiteY3" fmla="*/ 471055 h 471055"/>
                <a:gd name="connsiteX4" fmla="*/ 0 w 5076305"/>
                <a:gd name="connsiteY4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71156 w 5076305"/>
                <a:gd name="connsiteY3" fmla="*/ 471055 h 471055"/>
                <a:gd name="connsiteX4" fmla="*/ 0 w 5076305"/>
                <a:gd name="connsiteY4" fmla="*/ 471055 h 471055"/>
                <a:gd name="connsiteX5" fmla="*/ 0 w 5076305"/>
                <a:gd name="connsiteY5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87781 w 5076305"/>
                <a:gd name="connsiteY3" fmla="*/ 471055 h 471055"/>
                <a:gd name="connsiteX4" fmla="*/ 0 w 5076305"/>
                <a:gd name="connsiteY4" fmla="*/ 471055 h 471055"/>
                <a:gd name="connsiteX5" fmla="*/ 0 w 5076305"/>
                <a:gd name="connsiteY5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87781 w 5076305"/>
                <a:gd name="connsiteY3" fmla="*/ 471055 h 471055"/>
                <a:gd name="connsiteX4" fmla="*/ 0 w 5076305"/>
                <a:gd name="connsiteY4" fmla="*/ 471055 h 471055"/>
                <a:gd name="connsiteX5" fmla="*/ 0 w 5076305"/>
                <a:gd name="connsiteY5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87781 w 5076305"/>
                <a:gd name="connsiteY3" fmla="*/ 471055 h 471055"/>
                <a:gd name="connsiteX4" fmla="*/ 2067098 w 5076305"/>
                <a:gd name="connsiteY4" fmla="*/ 471055 h 471055"/>
                <a:gd name="connsiteX5" fmla="*/ 0 w 5076305"/>
                <a:gd name="connsiteY5" fmla="*/ 471055 h 471055"/>
                <a:gd name="connsiteX6" fmla="*/ 0 w 5076305"/>
                <a:gd name="connsiteY6" fmla="*/ 0 h 471055"/>
                <a:gd name="connsiteX0" fmla="*/ 0 w 5076305"/>
                <a:gd name="connsiteY0" fmla="*/ 0 h 803564"/>
                <a:gd name="connsiteX1" fmla="*/ 5076305 w 5076305"/>
                <a:gd name="connsiteY1" fmla="*/ 0 h 803564"/>
                <a:gd name="connsiteX2" fmla="*/ 5076305 w 5076305"/>
                <a:gd name="connsiteY2" fmla="*/ 471055 h 803564"/>
                <a:gd name="connsiteX3" fmla="*/ 2687781 w 5076305"/>
                <a:gd name="connsiteY3" fmla="*/ 471055 h 803564"/>
                <a:gd name="connsiteX4" fmla="*/ 2349731 w 5076305"/>
                <a:gd name="connsiteY4" fmla="*/ 803564 h 803564"/>
                <a:gd name="connsiteX5" fmla="*/ 0 w 5076305"/>
                <a:gd name="connsiteY5" fmla="*/ 471055 h 803564"/>
                <a:gd name="connsiteX6" fmla="*/ 0 w 5076305"/>
                <a:gd name="connsiteY6" fmla="*/ 0 h 803564"/>
                <a:gd name="connsiteX0" fmla="*/ 5542 w 5081847"/>
                <a:gd name="connsiteY0" fmla="*/ 0 h 809106"/>
                <a:gd name="connsiteX1" fmla="*/ 5081847 w 5081847"/>
                <a:gd name="connsiteY1" fmla="*/ 0 h 809106"/>
                <a:gd name="connsiteX2" fmla="*/ 5081847 w 5081847"/>
                <a:gd name="connsiteY2" fmla="*/ 471055 h 809106"/>
                <a:gd name="connsiteX3" fmla="*/ 2693323 w 5081847"/>
                <a:gd name="connsiteY3" fmla="*/ 471055 h 809106"/>
                <a:gd name="connsiteX4" fmla="*/ 2355273 w 5081847"/>
                <a:gd name="connsiteY4" fmla="*/ 803564 h 809106"/>
                <a:gd name="connsiteX5" fmla="*/ 0 w 5081847"/>
                <a:gd name="connsiteY5" fmla="*/ 809106 h 809106"/>
                <a:gd name="connsiteX6" fmla="*/ 5542 w 5081847"/>
                <a:gd name="connsiteY6" fmla="*/ 0 h 809106"/>
                <a:gd name="connsiteX0" fmla="*/ 11084 w 5087389"/>
                <a:gd name="connsiteY0" fmla="*/ 0 h 803564"/>
                <a:gd name="connsiteX1" fmla="*/ 5087389 w 5087389"/>
                <a:gd name="connsiteY1" fmla="*/ 0 h 803564"/>
                <a:gd name="connsiteX2" fmla="*/ 5087389 w 5087389"/>
                <a:gd name="connsiteY2" fmla="*/ 471055 h 803564"/>
                <a:gd name="connsiteX3" fmla="*/ 2698865 w 5087389"/>
                <a:gd name="connsiteY3" fmla="*/ 471055 h 803564"/>
                <a:gd name="connsiteX4" fmla="*/ 2360815 w 5087389"/>
                <a:gd name="connsiteY4" fmla="*/ 803564 h 803564"/>
                <a:gd name="connsiteX5" fmla="*/ 0 w 5087389"/>
                <a:gd name="connsiteY5" fmla="*/ 798023 h 803564"/>
                <a:gd name="connsiteX6" fmla="*/ 11084 w 5087389"/>
                <a:gd name="connsiteY6" fmla="*/ 0 h 803564"/>
                <a:gd name="connsiteX0" fmla="*/ 11084 w 5087389"/>
                <a:gd name="connsiteY0" fmla="*/ 0 h 803564"/>
                <a:gd name="connsiteX1" fmla="*/ 5087389 w 5087389"/>
                <a:gd name="connsiteY1" fmla="*/ 0 h 803564"/>
                <a:gd name="connsiteX2" fmla="*/ 5087389 w 5087389"/>
                <a:gd name="connsiteY2" fmla="*/ 471055 h 803564"/>
                <a:gd name="connsiteX3" fmla="*/ 2698865 w 5087389"/>
                <a:gd name="connsiteY3" fmla="*/ 471055 h 803564"/>
                <a:gd name="connsiteX4" fmla="*/ 2360815 w 5087389"/>
                <a:gd name="connsiteY4" fmla="*/ 803564 h 803564"/>
                <a:gd name="connsiteX5" fmla="*/ 0 w 5087389"/>
                <a:gd name="connsiteY5" fmla="*/ 798023 h 803564"/>
                <a:gd name="connsiteX6" fmla="*/ 11084 w 5087389"/>
                <a:gd name="connsiteY6" fmla="*/ 0 h 80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87389" h="803564">
                  <a:moveTo>
                    <a:pt x="11084" y="0"/>
                  </a:moveTo>
                  <a:lnTo>
                    <a:pt x="5087389" y="0"/>
                  </a:lnTo>
                  <a:lnTo>
                    <a:pt x="5087389" y="471055"/>
                  </a:lnTo>
                  <a:lnTo>
                    <a:pt x="2698865" y="471055"/>
                  </a:lnTo>
                  <a:lnTo>
                    <a:pt x="2360815" y="803564"/>
                  </a:lnTo>
                  <a:lnTo>
                    <a:pt x="0" y="798023"/>
                  </a:lnTo>
                  <a:cubicBezTo>
                    <a:pt x="1847" y="528321"/>
                    <a:pt x="9237" y="269702"/>
                    <a:pt x="1108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9" name="Группа 8"/>
            <p:cNvGrpSpPr/>
            <p:nvPr/>
          </p:nvGrpSpPr>
          <p:grpSpPr>
            <a:xfrm>
              <a:off x="4300236" y="1"/>
              <a:ext cx="890073" cy="6857999"/>
              <a:chOff x="4300236" y="1"/>
              <a:chExt cx="890073" cy="6857999"/>
            </a:xfrm>
            <a:grpFill/>
          </p:grpSpPr>
          <p:sp>
            <p:nvSpPr>
              <p:cNvPr id="10" name="Прямоугольник 2"/>
              <p:cNvSpPr/>
              <p:nvPr/>
            </p:nvSpPr>
            <p:spPr>
              <a:xfrm rot="16200000" flipV="1">
                <a:off x="2924794" y="2517650"/>
                <a:ext cx="3556962" cy="806077"/>
              </a:xfrm>
              <a:custGeom>
                <a:avLst/>
                <a:gdLst>
                  <a:gd name="connsiteX0" fmla="*/ 0 w 5076305"/>
                  <a:gd name="connsiteY0" fmla="*/ 0 h 471055"/>
                  <a:gd name="connsiteX1" fmla="*/ 5076305 w 5076305"/>
                  <a:gd name="connsiteY1" fmla="*/ 0 h 471055"/>
                  <a:gd name="connsiteX2" fmla="*/ 5076305 w 5076305"/>
                  <a:gd name="connsiteY2" fmla="*/ 471055 h 471055"/>
                  <a:gd name="connsiteX3" fmla="*/ 0 w 5076305"/>
                  <a:gd name="connsiteY3" fmla="*/ 471055 h 471055"/>
                  <a:gd name="connsiteX4" fmla="*/ 0 w 5076305"/>
                  <a:gd name="connsiteY4" fmla="*/ 0 h 471055"/>
                  <a:gd name="connsiteX0" fmla="*/ 0 w 5076305"/>
                  <a:gd name="connsiteY0" fmla="*/ 0 h 471055"/>
                  <a:gd name="connsiteX1" fmla="*/ 5076305 w 5076305"/>
                  <a:gd name="connsiteY1" fmla="*/ 0 h 471055"/>
                  <a:gd name="connsiteX2" fmla="*/ 5076305 w 5076305"/>
                  <a:gd name="connsiteY2" fmla="*/ 471055 h 471055"/>
                  <a:gd name="connsiteX3" fmla="*/ 2671156 w 5076305"/>
                  <a:gd name="connsiteY3" fmla="*/ 471055 h 471055"/>
                  <a:gd name="connsiteX4" fmla="*/ 0 w 5076305"/>
                  <a:gd name="connsiteY4" fmla="*/ 471055 h 471055"/>
                  <a:gd name="connsiteX5" fmla="*/ 0 w 5076305"/>
                  <a:gd name="connsiteY5" fmla="*/ 0 h 471055"/>
                  <a:gd name="connsiteX0" fmla="*/ 0 w 5076305"/>
                  <a:gd name="connsiteY0" fmla="*/ 0 h 471055"/>
                  <a:gd name="connsiteX1" fmla="*/ 5076305 w 5076305"/>
                  <a:gd name="connsiteY1" fmla="*/ 0 h 471055"/>
                  <a:gd name="connsiteX2" fmla="*/ 5076305 w 5076305"/>
                  <a:gd name="connsiteY2" fmla="*/ 471055 h 471055"/>
                  <a:gd name="connsiteX3" fmla="*/ 2687781 w 5076305"/>
                  <a:gd name="connsiteY3" fmla="*/ 471055 h 471055"/>
                  <a:gd name="connsiteX4" fmla="*/ 0 w 5076305"/>
                  <a:gd name="connsiteY4" fmla="*/ 471055 h 471055"/>
                  <a:gd name="connsiteX5" fmla="*/ 0 w 5076305"/>
                  <a:gd name="connsiteY5" fmla="*/ 0 h 471055"/>
                  <a:gd name="connsiteX0" fmla="*/ 0 w 5076305"/>
                  <a:gd name="connsiteY0" fmla="*/ 0 h 471055"/>
                  <a:gd name="connsiteX1" fmla="*/ 5076305 w 5076305"/>
                  <a:gd name="connsiteY1" fmla="*/ 0 h 471055"/>
                  <a:gd name="connsiteX2" fmla="*/ 5076305 w 5076305"/>
                  <a:gd name="connsiteY2" fmla="*/ 471055 h 471055"/>
                  <a:gd name="connsiteX3" fmla="*/ 2687781 w 5076305"/>
                  <a:gd name="connsiteY3" fmla="*/ 471055 h 471055"/>
                  <a:gd name="connsiteX4" fmla="*/ 0 w 5076305"/>
                  <a:gd name="connsiteY4" fmla="*/ 471055 h 471055"/>
                  <a:gd name="connsiteX5" fmla="*/ 0 w 5076305"/>
                  <a:gd name="connsiteY5" fmla="*/ 0 h 471055"/>
                  <a:gd name="connsiteX0" fmla="*/ 0 w 5076305"/>
                  <a:gd name="connsiteY0" fmla="*/ 0 h 471055"/>
                  <a:gd name="connsiteX1" fmla="*/ 5076305 w 5076305"/>
                  <a:gd name="connsiteY1" fmla="*/ 0 h 471055"/>
                  <a:gd name="connsiteX2" fmla="*/ 5076305 w 5076305"/>
                  <a:gd name="connsiteY2" fmla="*/ 471055 h 471055"/>
                  <a:gd name="connsiteX3" fmla="*/ 2687781 w 5076305"/>
                  <a:gd name="connsiteY3" fmla="*/ 471055 h 471055"/>
                  <a:gd name="connsiteX4" fmla="*/ 2067098 w 5076305"/>
                  <a:gd name="connsiteY4" fmla="*/ 471055 h 471055"/>
                  <a:gd name="connsiteX5" fmla="*/ 0 w 5076305"/>
                  <a:gd name="connsiteY5" fmla="*/ 471055 h 471055"/>
                  <a:gd name="connsiteX6" fmla="*/ 0 w 5076305"/>
                  <a:gd name="connsiteY6" fmla="*/ 0 h 471055"/>
                  <a:gd name="connsiteX0" fmla="*/ 0 w 5076305"/>
                  <a:gd name="connsiteY0" fmla="*/ 0 h 803564"/>
                  <a:gd name="connsiteX1" fmla="*/ 5076305 w 5076305"/>
                  <a:gd name="connsiteY1" fmla="*/ 0 h 803564"/>
                  <a:gd name="connsiteX2" fmla="*/ 5076305 w 5076305"/>
                  <a:gd name="connsiteY2" fmla="*/ 471055 h 803564"/>
                  <a:gd name="connsiteX3" fmla="*/ 2687781 w 5076305"/>
                  <a:gd name="connsiteY3" fmla="*/ 471055 h 803564"/>
                  <a:gd name="connsiteX4" fmla="*/ 2349731 w 5076305"/>
                  <a:gd name="connsiteY4" fmla="*/ 803564 h 803564"/>
                  <a:gd name="connsiteX5" fmla="*/ 0 w 5076305"/>
                  <a:gd name="connsiteY5" fmla="*/ 471055 h 803564"/>
                  <a:gd name="connsiteX6" fmla="*/ 0 w 5076305"/>
                  <a:gd name="connsiteY6" fmla="*/ 0 h 803564"/>
                  <a:gd name="connsiteX0" fmla="*/ 5542 w 5081847"/>
                  <a:gd name="connsiteY0" fmla="*/ 0 h 809106"/>
                  <a:gd name="connsiteX1" fmla="*/ 5081847 w 5081847"/>
                  <a:gd name="connsiteY1" fmla="*/ 0 h 809106"/>
                  <a:gd name="connsiteX2" fmla="*/ 5081847 w 5081847"/>
                  <a:gd name="connsiteY2" fmla="*/ 471055 h 809106"/>
                  <a:gd name="connsiteX3" fmla="*/ 2693323 w 5081847"/>
                  <a:gd name="connsiteY3" fmla="*/ 471055 h 809106"/>
                  <a:gd name="connsiteX4" fmla="*/ 2355273 w 5081847"/>
                  <a:gd name="connsiteY4" fmla="*/ 803564 h 809106"/>
                  <a:gd name="connsiteX5" fmla="*/ 0 w 5081847"/>
                  <a:gd name="connsiteY5" fmla="*/ 809106 h 809106"/>
                  <a:gd name="connsiteX6" fmla="*/ 5542 w 5081847"/>
                  <a:gd name="connsiteY6" fmla="*/ 0 h 809106"/>
                  <a:gd name="connsiteX0" fmla="*/ 11084 w 5087389"/>
                  <a:gd name="connsiteY0" fmla="*/ 0 h 803564"/>
                  <a:gd name="connsiteX1" fmla="*/ 5087389 w 5087389"/>
                  <a:gd name="connsiteY1" fmla="*/ 0 h 803564"/>
                  <a:gd name="connsiteX2" fmla="*/ 5087389 w 5087389"/>
                  <a:gd name="connsiteY2" fmla="*/ 471055 h 803564"/>
                  <a:gd name="connsiteX3" fmla="*/ 2698865 w 5087389"/>
                  <a:gd name="connsiteY3" fmla="*/ 471055 h 803564"/>
                  <a:gd name="connsiteX4" fmla="*/ 2360815 w 5087389"/>
                  <a:gd name="connsiteY4" fmla="*/ 803564 h 803564"/>
                  <a:gd name="connsiteX5" fmla="*/ 0 w 5087389"/>
                  <a:gd name="connsiteY5" fmla="*/ 798023 h 803564"/>
                  <a:gd name="connsiteX6" fmla="*/ 11084 w 5087389"/>
                  <a:gd name="connsiteY6" fmla="*/ 0 h 803564"/>
                  <a:gd name="connsiteX0" fmla="*/ 11084 w 5087389"/>
                  <a:gd name="connsiteY0" fmla="*/ 0 h 803564"/>
                  <a:gd name="connsiteX1" fmla="*/ 5087389 w 5087389"/>
                  <a:gd name="connsiteY1" fmla="*/ 0 h 803564"/>
                  <a:gd name="connsiteX2" fmla="*/ 5087389 w 5087389"/>
                  <a:gd name="connsiteY2" fmla="*/ 471055 h 803564"/>
                  <a:gd name="connsiteX3" fmla="*/ 2698865 w 5087389"/>
                  <a:gd name="connsiteY3" fmla="*/ 471055 h 803564"/>
                  <a:gd name="connsiteX4" fmla="*/ 2360815 w 5087389"/>
                  <a:gd name="connsiteY4" fmla="*/ 803564 h 803564"/>
                  <a:gd name="connsiteX5" fmla="*/ 0 w 5087389"/>
                  <a:gd name="connsiteY5" fmla="*/ 798023 h 803564"/>
                  <a:gd name="connsiteX6" fmla="*/ 11084 w 5087389"/>
                  <a:gd name="connsiteY6" fmla="*/ 0 h 803564"/>
                  <a:gd name="connsiteX0" fmla="*/ 11084 w 5087389"/>
                  <a:gd name="connsiteY0" fmla="*/ 0 h 803564"/>
                  <a:gd name="connsiteX1" fmla="*/ 5087389 w 5087389"/>
                  <a:gd name="connsiteY1" fmla="*/ 0 h 803564"/>
                  <a:gd name="connsiteX2" fmla="*/ 5087389 w 5087389"/>
                  <a:gd name="connsiteY2" fmla="*/ 471055 h 803564"/>
                  <a:gd name="connsiteX3" fmla="*/ 2698865 w 5087389"/>
                  <a:gd name="connsiteY3" fmla="*/ 471055 h 803564"/>
                  <a:gd name="connsiteX4" fmla="*/ 2360815 w 5087389"/>
                  <a:gd name="connsiteY4" fmla="*/ 803564 h 803564"/>
                  <a:gd name="connsiteX5" fmla="*/ 1116678 w 5087389"/>
                  <a:gd name="connsiteY5" fmla="*/ 803428 h 803564"/>
                  <a:gd name="connsiteX6" fmla="*/ 0 w 5087389"/>
                  <a:gd name="connsiteY6" fmla="*/ 798023 h 803564"/>
                  <a:gd name="connsiteX7" fmla="*/ 11084 w 5087389"/>
                  <a:gd name="connsiteY7" fmla="*/ 0 h 803564"/>
                  <a:gd name="connsiteX0" fmla="*/ 5 w 5076310"/>
                  <a:gd name="connsiteY0" fmla="*/ 0 h 803564"/>
                  <a:gd name="connsiteX1" fmla="*/ 5076310 w 5076310"/>
                  <a:gd name="connsiteY1" fmla="*/ 0 h 803564"/>
                  <a:gd name="connsiteX2" fmla="*/ 5076310 w 5076310"/>
                  <a:gd name="connsiteY2" fmla="*/ 471055 h 803564"/>
                  <a:gd name="connsiteX3" fmla="*/ 2687786 w 5076310"/>
                  <a:gd name="connsiteY3" fmla="*/ 471055 h 803564"/>
                  <a:gd name="connsiteX4" fmla="*/ 2349736 w 5076310"/>
                  <a:gd name="connsiteY4" fmla="*/ 803564 h 803564"/>
                  <a:gd name="connsiteX5" fmla="*/ 1105599 w 5076310"/>
                  <a:gd name="connsiteY5" fmla="*/ 803428 h 803564"/>
                  <a:gd name="connsiteX6" fmla="*/ 618770 w 5076310"/>
                  <a:gd name="connsiteY6" fmla="*/ 302457 h 803564"/>
                  <a:gd name="connsiteX7" fmla="*/ 5 w 5076310"/>
                  <a:gd name="connsiteY7" fmla="*/ 0 h 803564"/>
                  <a:gd name="connsiteX0" fmla="*/ 5 w 5076310"/>
                  <a:gd name="connsiteY0" fmla="*/ 0 h 803564"/>
                  <a:gd name="connsiteX1" fmla="*/ 5076310 w 5076310"/>
                  <a:gd name="connsiteY1" fmla="*/ 0 h 803564"/>
                  <a:gd name="connsiteX2" fmla="*/ 5076310 w 5076310"/>
                  <a:gd name="connsiteY2" fmla="*/ 471055 h 803564"/>
                  <a:gd name="connsiteX3" fmla="*/ 2687786 w 5076310"/>
                  <a:gd name="connsiteY3" fmla="*/ 471055 h 803564"/>
                  <a:gd name="connsiteX4" fmla="*/ 2349736 w 5076310"/>
                  <a:gd name="connsiteY4" fmla="*/ 803564 h 803564"/>
                  <a:gd name="connsiteX5" fmla="*/ 1105599 w 5076310"/>
                  <a:gd name="connsiteY5" fmla="*/ 803428 h 803564"/>
                  <a:gd name="connsiteX6" fmla="*/ 618770 w 5076310"/>
                  <a:gd name="connsiteY6" fmla="*/ 302457 h 803564"/>
                  <a:gd name="connsiteX7" fmla="*/ 5 w 5076310"/>
                  <a:gd name="connsiteY7" fmla="*/ 0 h 803564"/>
                  <a:gd name="connsiteX0" fmla="*/ 201690 w 5277995"/>
                  <a:gd name="connsiteY0" fmla="*/ 0 h 803564"/>
                  <a:gd name="connsiteX1" fmla="*/ 5277995 w 5277995"/>
                  <a:gd name="connsiteY1" fmla="*/ 0 h 803564"/>
                  <a:gd name="connsiteX2" fmla="*/ 5277995 w 5277995"/>
                  <a:gd name="connsiteY2" fmla="*/ 471055 h 803564"/>
                  <a:gd name="connsiteX3" fmla="*/ 2889471 w 5277995"/>
                  <a:gd name="connsiteY3" fmla="*/ 471055 h 803564"/>
                  <a:gd name="connsiteX4" fmla="*/ 2551421 w 5277995"/>
                  <a:gd name="connsiteY4" fmla="*/ 803564 h 803564"/>
                  <a:gd name="connsiteX5" fmla="*/ 1307284 w 5277995"/>
                  <a:gd name="connsiteY5" fmla="*/ 803428 h 803564"/>
                  <a:gd name="connsiteX6" fmla="*/ 820455 w 5277995"/>
                  <a:gd name="connsiteY6" fmla="*/ 302457 h 803564"/>
                  <a:gd name="connsiteX7" fmla="*/ 993957 w 5277995"/>
                  <a:gd name="connsiteY7" fmla="*/ 474116 h 803564"/>
                  <a:gd name="connsiteX8" fmla="*/ 201690 w 5277995"/>
                  <a:gd name="connsiteY8" fmla="*/ 0 h 803564"/>
                  <a:gd name="connsiteX0" fmla="*/ 375518 w 5451823"/>
                  <a:gd name="connsiteY0" fmla="*/ 0 h 803564"/>
                  <a:gd name="connsiteX1" fmla="*/ 5451823 w 5451823"/>
                  <a:gd name="connsiteY1" fmla="*/ 0 h 803564"/>
                  <a:gd name="connsiteX2" fmla="*/ 5451823 w 5451823"/>
                  <a:gd name="connsiteY2" fmla="*/ 471055 h 803564"/>
                  <a:gd name="connsiteX3" fmla="*/ 3063299 w 5451823"/>
                  <a:gd name="connsiteY3" fmla="*/ 471055 h 803564"/>
                  <a:gd name="connsiteX4" fmla="*/ 2725249 w 5451823"/>
                  <a:gd name="connsiteY4" fmla="*/ 803564 h 803564"/>
                  <a:gd name="connsiteX5" fmla="*/ 1481112 w 5451823"/>
                  <a:gd name="connsiteY5" fmla="*/ 803428 h 803564"/>
                  <a:gd name="connsiteX6" fmla="*/ 994283 w 5451823"/>
                  <a:gd name="connsiteY6" fmla="*/ 302457 h 803564"/>
                  <a:gd name="connsiteX7" fmla="*/ 269371 w 5451823"/>
                  <a:gd name="connsiteY7" fmla="*/ 419764 h 803564"/>
                  <a:gd name="connsiteX8" fmla="*/ 375518 w 5451823"/>
                  <a:gd name="connsiteY8" fmla="*/ 0 h 803564"/>
                  <a:gd name="connsiteX0" fmla="*/ 375518 w 5451823"/>
                  <a:gd name="connsiteY0" fmla="*/ 0 h 803564"/>
                  <a:gd name="connsiteX1" fmla="*/ 5451823 w 5451823"/>
                  <a:gd name="connsiteY1" fmla="*/ 0 h 803564"/>
                  <a:gd name="connsiteX2" fmla="*/ 5451823 w 5451823"/>
                  <a:gd name="connsiteY2" fmla="*/ 471055 h 803564"/>
                  <a:gd name="connsiteX3" fmla="*/ 3063299 w 5451823"/>
                  <a:gd name="connsiteY3" fmla="*/ 471055 h 803564"/>
                  <a:gd name="connsiteX4" fmla="*/ 2725249 w 5451823"/>
                  <a:gd name="connsiteY4" fmla="*/ 803564 h 803564"/>
                  <a:gd name="connsiteX5" fmla="*/ 1481112 w 5451823"/>
                  <a:gd name="connsiteY5" fmla="*/ 803428 h 803564"/>
                  <a:gd name="connsiteX6" fmla="*/ 1163735 w 5451823"/>
                  <a:gd name="connsiteY6" fmla="*/ 494289 h 803564"/>
                  <a:gd name="connsiteX7" fmla="*/ 269371 w 5451823"/>
                  <a:gd name="connsiteY7" fmla="*/ 419764 h 803564"/>
                  <a:gd name="connsiteX8" fmla="*/ 375518 w 5451823"/>
                  <a:gd name="connsiteY8" fmla="*/ 0 h 803564"/>
                  <a:gd name="connsiteX0" fmla="*/ 375518 w 5451823"/>
                  <a:gd name="connsiteY0" fmla="*/ 0 h 841931"/>
                  <a:gd name="connsiteX1" fmla="*/ 5451823 w 5451823"/>
                  <a:gd name="connsiteY1" fmla="*/ 0 h 841931"/>
                  <a:gd name="connsiteX2" fmla="*/ 5451823 w 5451823"/>
                  <a:gd name="connsiteY2" fmla="*/ 471055 h 841931"/>
                  <a:gd name="connsiteX3" fmla="*/ 3063299 w 5451823"/>
                  <a:gd name="connsiteY3" fmla="*/ 471055 h 841931"/>
                  <a:gd name="connsiteX4" fmla="*/ 2693277 w 5451823"/>
                  <a:gd name="connsiteY4" fmla="*/ 841931 h 841931"/>
                  <a:gd name="connsiteX5" fmla="*/ 1481112 w 5451823"/>
                  <a:gd name="connsiteY5" fmla="*/ 803428 h 841931"/>
                  <a:gd name="connsiteX6" fmla="*/ 1163735 w 5451823"/>
                  <a:gd name="connsiteY6" fmla="*/ 494289 h 841931"/>
                  <a:gd name="connsiteX7" fmla="*/ 269371 w 5451823"/>
                  <a:gd name="connsiteY7" fmla="*/ 419764 h 841931"/>
                  <a:gd name="connsiteX8" fmla="*/ 375518 w 5451823"/>
                  <a:gd name="connsiteY8" fmla="*/ 0 h 841931"/>
                  <a:gd name="connsiteX0" fmla="*/ 375518 w 5451823"/>
                  <a:gd name="connsiteY0" fmla="*/ 0 h 844992"/>
                  <a:gd name="connsiteX1" fmla="*/ 5451823 w 5451823"/>
                  <a:gd name="connsiteY1" fmla="*/ 0 h 844992"/>
                  <a:gd name="connsiteX2" fmla="*/ 5451823 w 5451823"/>
                  <a:gd name="connsiteY2" fmla="*/ 471055 h 844992"/>
                  <a:gd name="connsiteX3" fmla="*/ 3063299 w 5451823"/>
                  <a:gd name="connsiteY3" fmla="*/ 471055 h 844992"/>
                  <a:gd name="connsiteX4" fmla="*/ 2693277 w 5451823"/>
                  <a:gd name="connsiteY4" fmla="*/ 841931 h 844992"/>
                  <a:gd name="connsiteX5" fmla="*/ 1481112 w 5451823"/>
                  <a:gd name="connsiteY5" fmla="*/ 844992 h 844992"/>
                  <a:gd name="connsiteX6" fmla="*/ 1163735 w 5451823"/>
                  <a:gd name="connsiteY6" fmla="*/ 494289 h 844992"/>
                  <a:gd name="connsiteX7" fmla="*/ 269371 w 5451823"/>
                  <a:gd name="connsiteY7" fmla="*/ 419764 h 844992"/>
                  <a:gd name="connsiteX8" fmla="*/ 375518 w 5451823"/>
                  <a:gd name="connsiteY8" fmla="*/ 0 h 844992"/>
                  <a:gd name="connsiteX0" fmla="*/ 375518 w 5451823"/>
                  <a:gd name="connsiteY0" fmla="*/ 0 h 844992"/>
                  <a:gd name="connsiteX1" fmla="*/ 5451823 w 5451823"/>
                  <a:gd name="connsiteY1" fmla="*/ 0 h 844992"/>
                  <a:gd name="connsiteX2" fmla="*/ 5451823 w 5451823"/>
                  <a:gd name="connsiteY2" fmla="*/ 471055 h 844992"/>
                  <a:gd name="connsiteX3" fmla="*/ 3063299 w 5451823"/>
                  <a:gd name="connsiteY3" fmla="*/ 471055 h 844992"/>
                  <a:gd name="connsiteX4" fmla="*/ 2693277 w 5451823"/>
                  <a:gd name="connsiteY4" fmla="*/ 841931 h 844992"/>
                  <a:gd name="connsiteX5" fmla="*/ 1481112 w 5451823"/>
                  <a:gd name="connsiteY5" fmla="*/ 844992 h 844992"/>
                  <a:gd name="connsiteX6" fmla="*/ 1134960 w 5451823"/>
                  <a:gd name="connsiteY6" fmla="*/ 484697 h 844992"/>
                  <a:gd name="connsiteX7" fmla="*/ 269371 w 5451823"/>
                  <a:gd name="connsiteY7" fmla="*/ 419764 h 844992"/>
                  <a:gd name="connsiteX8" fmla="*/ 375518 w 5451823"/>
                  <a:gd name="connsiteY8" fmla="*/ 0 h 844992"/>
                  <a:gd name="connsiteX0" fmla="*/ 1410140 w 6486445"/>
                  <a:gd name="connsiteY0" fmla="*/ 0 h 844992"/>
                  <a:gd name="connsiteX1" fmla="*/ 6486445 w 6486445"/>
                  <a:gd name="connsiteY1" fmla="*/ 0 h 844992"/>
                  <a:gd name="connsiteX2" fmla="*/ 6486445 w 6486445"/>
                  <a:gd name="connsiteY2" fmla="*/ 471055 h 844992"/>
                  <a:gd name="connsiteX3" fmla="*/ 4097921 w 6486445"/>
                  <a:gd name="connsiteY3" fmla="*/ 471055 h 844992"/>
                  <a:gd name="connsiteX4" fmla="*/ 3727899 w 6486445"/>
                  <a:gd name="connsiteY4" fmla="*/ 841931 h 844992"/>
                  <a:gd name="connsiteX5" fmla="*/ 2515734 w 6486445"/>
                  <a:gd name="connsiteY5" fmla="*/ 844992 h 844992"/>
                  <a:gd name="connsiteX6" fmla="*/ 2169582 w 6486445"/>
                  <a:gd name="connsiteY6" fmla="*/ 484697 h 844992"/>
                  <a:gd name="connsiteX7" fmla="*/ 9125 w 6486445"/>
                  <a:gd name="connsiteY7" fmla="*/ 461328 h 844992"/>
                  <a:gd name="connsiteX8" fmla="*/ 1410140 w 6486445"/>
                  <a:gd name="connsiteY8" fmla="*/ 0 h 844992"/>
                  <a:gd name="connsiteX0" fmla="*/ 323035 w 6866857"/>
                  <a:gd name="connsiteY0" fmla="*/ 12789 h 844992"/>
                  <a:gd name="connsiteX1" fmla="*/ 6866857 w 6866857"/>
                  <a:gd name="connsiteY1" fmla="*/ 0 h 844992"/>
                  <a:gd name="connsiteX2" fmla="*/ 6866857 w 6866857"/>
                  <a:gd name="connsiteY2" fmla="*/ 471055 h 844992"/>
                  <a:gd name="connsiteX3" fmla="*/ 4478333 w 6866857"/>
                  <a:gd name="connsiteY3" fmla="*/ 471055 h 844992"/>
                  <a:gd name="connsiteX4" fmla="*/ 4108311 w 6866857"/>
                  <a:gd name="connsiteY4" fmla="*/ 841931 h 844992"/>
                  <a:gd name="connsiteX5" fmla="*/ 2896146 w 6866857"/>
                  <a:gd name="connsiteY5" fmla="*/ 844992 h 844992"/>
                  <a:gd name="connsiteX6" fmla="*/ 2549994 w 6866857"/>
                  <a:gd name="connsiteY6" fmla="*/ 484697 h 844992"/>
                  <a:gd name="connsiteX7" fmla="*/ 389537 w 6866857"/>
                  <a:gd name="connsiteY7" fmla="*/ 461328 h 844992"/>
                  <a:gd name="connsiteX8" fmla="*/ 323035 w 6866857"/>
                  <a:gd name="connsiteY8" fmla="*/ 12789 h 844992"/>
                  <a:gd name="connsiteX0" fmla="*/ 975138 w 7518960"/>
                  <a:gd name="connsiteY0" fmla="*/ 12789 h 844992"/>
                  <a:gd name="connsiteX1" fmla="*/ 7518960 w 7518960"/>
                  <a:gd name="connsiteY1" fmla="*/ 0 h 844992"/>
                  <a:gd name="connsiteX2" fmla="*/ 7518960 w 7518960"/>
                  <a:gd name="connsiteY2" fmla="*/ 471055 h 844992"/>
                  <a:gd name="connsiteX3" fmla="*/ 5130436 w 7518960"/>
                  <a:gd name="connsiteY3" fmla="*/ 471055 h 844992"/>
                  <a:gd name="connsiteX4" fmla="*/ 4760414 w 7518960"/>
                  <a:gd name="connsiteY4" fmla="*/ 841931 h 844992"/>
                  <a:gd name="connsiteX5" fmla="*/ 3548249 w 7518960"/>
                  <a:gd name="connsiteY5" fmla="*/ 844992 h 844992"/>
                  <a:gd name="connsiteX6" fmla="*/ 3202097 w 7518960"/>
                  <a:gd name="connsiteY6" fmla="*/ 484697 h 844992"/>
                  <a:gd name="connsiteX7" fmla="*/ 1041640 w 7518960"/>
                  <a:gd name="connsiteY7" fmla="*/ 461328 h 844992"/>
                  <a:gd name="connsiteX8" fmla="*/ 975138 w 7518960"/>
                  <a:gd name="connsiteY8" fmla="*/ 12789 h 844992"/>
                  <a:gd name="connsiteX0" fmla="*/ 485494 w 7029316"/>
                  <a:gd name="connsiteY0" fmla="*/ 36734 h 868937"/>
                  <a:gd name="connsiteX1" fmla="*/ 7029316 w 7029316"/>
                  <a:gd name="connsiteY1" fmla="*/ 23945 h 868937"/>
                  <a:gd name="connsiteX2" fmla="*/ 7029316 w 7029316"/>
                  <a:gd name="connsiteY2" fmla="*/ 495000 h 868937"/>
                  <a:gd name="connsiteX3" fmla="*/ 4640792 w 7029316"/>
                  <a:gd name="connsiteY3" fmla="*/ 495000 h 868937"/>
                  <a:gd name="connsiteX4" fmla="*/ 4270770 w 7029316"/>
                  <a:gd name="connsiteY4" fmla="*/ 865876 h 868937"/>
                  <a:gd name="connsiteX5" fmla="*/ 3058605 w 7029316"/>
                  <a:gd name="connsiteY5" fmla="*/ 868937 h 868937"/>
                  <a:gd name="connsiteX6" fmla="*/ 2712453 w 7029316"/>
                  <a:gd name="connsiteY6" fmla="*/ 508642 h 868937"/>
                  <a:gd name="connsiteX7" fmla="*/ 551996 w 7029316"/>
                  <a:gd name="connsiteY7" fmla="*/ 485273 h 868937"/>
                  <a:gd name="connsiteX8" fmla="*/ 485494 w 7029316"/>
                  <a:gd name="connsiteY8" fmla="*/ 36734 h 868937"/>
                  <a:gd name="connsiteX0" fmla="*/ 485494 w 7029316"/>
                  <a:gd name="connsiteY0" fmla="*/ 36734 h 868937"/>
                  <a:gd name="connsiteX1" fmla="*/ 7029316 w 7029316"/>
                  <a:gd name="connsiteY1" fmla="*/ 23945 h 868937"/>
                  <a:gd name="connsiteX2" fmla="*/ 7029316 w 7029316"/>
                  <a:gd name="connsiteY2" fmla="*/ 495000 h 868937"/>
                  <a:gd name="connsiteX3" fmla="*/ 4640792 w 7029316"/>
                  <a:gd name="connsiteY3" fmla="*/ 495000 h 868937"/>
                  <a:gd name="connsiteX4" fmla="*/ 4270770 w 7029316"/>
                  <a:gd name="connsiteY4" fmla="*/ 865876 h 868937"/>
                  <a:gd name="connsiteX5" fmla="*/ 3058605 w 7029316"/>
                  <a:gd name="connsiteY5" fmla="*/ 868937 h 868937"/>
                  <a:gd name="connsiteX6" fmla="*/ 2712453 w 7029316"/>
                  <a:gd name="connsiteY6" fmla="*/ 508642 h 868937"/>
                  <a:gd name="connsiteX7" fmla="*/ 551996 w 7029316"/>
                  <a:gd name="connsiteY7" fmla="*/ 485273 h 868937"/>
                  <a:gd name="connsiteX8" fmla="*/ 485494 w 7029316"/>
                  <a:gd name="connsiteY8" fmla="*/ 36734 h 868937"/>
                  <a:gd name="connsiteX0" fmla="*/ 485494 w 7029316"/>
                  <a:gd name="connsiteY0" fmla="*/ 36734 h 868937"/>
                  <a:gd name="connsiteX1" fmla="*/ 7029316 w 7029316"/>
                  <a:gd name="connsiteY1" fmla="*/ 23945 h 868937"/>
                  <a:gd name="connsiteX2" fmla="*/ 7029316 w 7029316"/>
                  <a:gd name="connsiteY2" fmla="*/ 495000 h 868937"/>
                  <a:gd name="connsiteX3" fmla="*/ 4640792 w 7029316"/>
                  <a:gd name="connsiteY3" fmla="*/ 495000 h 868937"/>
                  <a:gd name="connsiteX4" fmla="*/ 4270770 w 7029316"/>
                  <a:gd name="connsiteY4" fmla="*/ 865876 h 868937"/>
                  <a:gd name="connsiteX5" fmla="*/ 3058605 w 7029316"/>
                  <a:gd name="connsiteY5" fmla="*/ 868937 h 868937"/>
                  <a:gd name="connsiteX6" fmla="*/ 2712453 w 7029316"/>
                  <a:gd name="connsiteY6" fmla="*/ 508642 h 868937"/>
                  <a:gd name="connsiteX7" fmla="*/ 551996 w 7029316"/>
                  <a:gd name="connsiteY7" fmla="*/ 485273 h 868937"/>
                  <a:gd name="connsiteX8" fmla="*/ 485494 w 7029316"/>
                  <a:gd name="connsiteY8" fmla="*/ 36734 h 868937"/>
                  <a:gd name="connsiteX0" fmla="*/ 485494 w 7029316"/>
                  <a:gd name="connsiteY0" fmla="*/ 36734 h 868937"/>
                  <a:gd name="connsiteX1" fmla="*/ 7029316 w 7029316"/>
                  <a:gd name="connsiteY1" fmla="*/ 23945 h 868937"/>
                  <a:gd name="connsiteX2" fmla="*/ 7029316 w 7029316"/>
                  <a:gd name="connsiteY2" fmla="*/ 495000 h 868937"/>
                  <a:gd name="connsiteX3" fmla="*/ 4640792 w 7029316"/>
                  <a:gd name="connsiteY3" fmla="*/ 495000 h 868937"/>
                  <a:gd name="connsiteX4" fmla="*/ 4270770 w 7029316"/>
                  <a:gd name="connsiteY4" fmla="*/ 865876 h 868937"/>
                  <a:gd name="connsiteX5" fmla="*/ 3058605 w 7029316"/>
                  <a:gd name="connsiteY5" fmla="*/ 868937 h 868937"/>
                  <a:gd name="connsiteX6" fmla="*/ 2712453 w 7029316"/>
                  <a:gd name="connsiteY6" fmla="*/ 508642 h 868937"/>
                  <a:gd name="connsiteX7" fmla="*/ 551996 w 7029316"/>
                  <a:gd name="connsiteY7" fmla="*/ 485273 h 868937"/>
                  <a:gd name="connsiteX8" fmla="*/ 485494 w 7029316"/>
                  <a:gd name="connsiteY8" fmla="*/ 36734 h 868937"/>
                  <a:gd name="connsiteX0" fmla="*/ 466681 w 7010503"/>
                  <a:gd name="connsiteY0" fmla="*/ 36734 h 868937"/>
                  <a:gd name="connsiteX1" fmla="*/ 7010503 w 7010503"/>
                  <a:gd name="connsiteY1" fmla="*/ 23945 h 868937"/>
                  <a:gd name="connsiteX2" fmla="*/ 7010503 w 7010503"/>
                  <a:gd name="connsiteY2" fmla="*/ 495000 h 868937"/>
                  <a:gd name="connsiteX3" fmla="*/ 4621979 w 7010503"/>
                  <a:gd name="connsiteY3" fmla="*/ 495000 h 868937"/>
                  <a:gd name="connsiteX4" fmla="*/ 4251957 w 7010503"/>
                  <a:gd name="connsiteY4" fmla="*/ 865876 h 868937"/>
                  <a:gd name="connsiteX5" fmla="*/ 3039792 w 7010503"/>
                  <a:gd name="connsiteY5" fmla="*/ 868937 h 868937"/>
                  <a:gd name="connsiteX6" fmla="*/ 2693640 w 7010503"/>
                  <a:gd name="connsiteY6" fmla="*/ 508642 h 868937"/>
                  <a:gd name="connsiteX7" fmla="*/ 533183 w 7010503"/>
                  <a:gd name="connsiteY7" fmla="*/ 485273 h 868937"/>
                  <a:gd name="connsiteX8" fmla="*/ 466681 w 7010503"/>
                  <a:gd name="connsiteY8" fmla="*/ 36734 h 868937"/>
                  <a:gd name="connsiteX0" fmla="*/ 467701 w 7011523"/>
                  <a:gd name="connsiteY0" fmla="*/ 37675 h 869878"/>
                  <a:gd name="connsiteX1" fmla="*/ 7011523 w 7011523"/>
                  <a:gd name="connsiteY1" fmla="*/ 24886 h 869878"/>
                  <a:gd name="connsiteX2" fmla="*/ 7011523 w 7011523"/>
                  <a:gd name="connsiteY2" fmla="*/ 495941 h 869878"/>
                  <a:gd name="connsiteX3" fmla="*/ 4622999 w 7011523"/>
                  <a:gd name="connsiteY3" fmla="*/ 495941 h 869878"/>
                  <a:gd name="connsiteX4" fmla="*/ 4252977 w 7011523"/>
                  <a:gd name="connsiteY4" fmla="*/ 866817 h 869878"/>
                  <a:gd name="connsiteX5" fmla="*/ 3040812 w 7011523"/>
                  <a:gd name="connsiteY5" fmla="*/ 869878 h 869878"/>
                  <a:gd name="connsiteX6" fmla="*/ 2694660 w 7011523"/>
                  <a:gd name="connsiteY6" fmla="*/ 509583 h 869878"/>
                  <a:gd name="connsiteX7" fmla="*/ 531006 w 7011523"/>
                  <a:gd name="connsiteY7" fmla="*/ 499003 h 869878"/>
                  <a:gd name="connsiteX8" fmla="*/ 467701 w 7011523"/>
                  <a:gd name="connsiteY8" fmla="*/ 37675 h 869878"/>
                  <a:gd name="connsiteX0" fmla="*/ 552526 w 7096348"/>
                  <a:gd name="connsiteY0" fmla="*/ 37675 h 869878"/>
                  <a:gd name="connsiteX1" fmla="*/ 7096348 w 7096348"/>
                  <a:gd name="connsiteY1" fmla="*/ 24886 h 869878"/>
                  <a:gd name="connsiteX2" fmla="*/ 7096348 w 7096348"/>
                  <a:gd name="connsiteY2" fmla="*/ 495941 h 869878"/>
                  <a:gd name="connsiteX3" fmla="*/ 4707824 w 7096348"/>
                  <a:gd name="connsiteY3" fmla="*/ 495941 h 869878"/>
                  <a:gd name="connsiteX4" fmla="*/ 4337802 w 7096348"/>
                  <a:gd name="connsiteY4" fmla="*/ 866817 h 869878"/>
                  <a:gd name="connsiteX5" fmla="*/ 3125637 w 7096348"/>
                  <a:gd name="connsiteY5" fmla="*/ 869878 h 869878"/>
                  <a:gd name="connsiteX6" fmla="*/ 2779485 w 7096348"/>
                  <a:gd name="connsiteY6" fmla="*/ 506385 h 869878"/>
                  <a:gd name="connsiteX7" fmla="*/ 615831 w 7096348"/>
                  <a:gd name="connsiteY7" fmla="*/ 499003 h 869878"/>
                  <a:gd name="connsiteX8" fmla="*/ 552526 w 7096348"/>
                  <a:gd name="connsiteY8" fmla="*/ 37675 h 869878"/>
                  <a:gd name="connsiteX0" fmla="*/ 1207880 w 7751702"/>
                  <a:gd name="connsiteY0" fmla="*/ 37675 h 869878"/>
                  <a:gd name="connsiteX1" fmla="*/ 7751702 w 7751702"/>
                  <a:gd name="connsiteY1" fmla="*/ 24886 h 869878"/>
                  <a:gd name="connsiteX2" fmla="*/ 7751702 w 7751702"/>
                  <a:gd name="connsiteY2" fmla="*/ 495941 h 869878"/>
                  <a:gd name="connsiteX3" fmla="*/ 5363178 w 7751702"/>
                  <a:gd name="connsiteY3" fmla="*/ 495941 h 869878"/>
                  <a:gd name="connsiteX4" fmla="*/ 4993156 w 7751702"/>
                  <a:gd name="connsiteY4" fmla="*/ 866817 h 869878"/>
                  <a:gd name="connsiteX5" fmla="*/ 3780991 w 7751702"/>
                  <a:gd name="connsiteY5" fmla="*/ 869878 h 869878"/>
                  <a:gd name="connsiteX6" fmla="*/ 3434839 w 7751702"/>
                  <a:gd name="connsiteY6" fmla="*/ 506385 h 869878"/>
                  <a:gd name="connsiteX7" fmla="*/ 1271185 w 7751702"/>
                  <a:gd name="connsiteY7" fmla="*/ 499003 h 869878"/>
                  <a:gd name="connsiteX8" fmla="*/ 1207880 w 7751702"/>
                  <a:gd name="connsiteY8" fmla="*/ 37675 h 869878"/>
                  <a:gd name="connsiteX0" fmla="*/ 895931 w 7439753"/>
                  <a:gd name="connsiteY0" fmla="*/ 47578 h 879781"/>
                  <a:gd name="connsiteX1" fmla="*/ 7439753 w 7439753"/>
                  <a:gd name="connsiteY1" fmla="*/ 34789 h 879781"/>
                  <a:gd name="connsiteX2" fmla="*/ 7439753 w 7439753"/>
                  <a:gd name="connsiteY2" fmla="*/ 505844 h 879781"/>
                  <a:gd name="connsiteX3" fmla="*/ 5051229 w 7439753"/>
                  <a:gd name="connsiteY3" fmla="*/ 505844 h 879781"/>
                  <a:gd name="connsiteX4" fmla="*/ 4681207 w 7439753"/>
                  <a:gd name="connsiteY4" fmla="*/ 876720 h 879781"/>
                  <a:gd name="connsiteX5" fmla="*/ 3469042 w 7439753"/>
                  <a:gd name="connsiteY5" fmla="*/ 879781 h 879781"/>
                  <a:gd name="connsiteX6" fmla="*/ 3122890 w 7439753"/>
                  <a:gd name="connsiteY6" fmla="*/ 516288 h 879781"/>
                  <a:gd name="connsiteX7" fmla="*/ 959236 w 7439753"/>
                  <a:gd name="connsiteY7" fmla="*/ 508906 h 879781"/>
                  <a:gd name="connsiteX8" fmla="*/ 895931 w 7439753"/>
                  <a:gd name="connsiteY8" fmla="*/ 47578 h 879781"/>
                  <a:gd name="connsiteX0" fmla="*/ 917 w 6544739"/>
                  <a:gd name="connsiteY0" fmla="*/ 47578 h 879781"/>
                  <a:gd name="connsiteX1" fmla="*/ 6544739 w 6544739"/>
                  <a:gd name="connsiteY1" fmla="*/ 34789 h 879781"/>
                  <a:gd name="connsiteX2" fmla="*/ 6544739 w 6544739"/>
                  <a:gd name="connsiteY2" fmla="*/ 505844 h 879781"/>
                  <a:gd name="connsiteX3" fmla="*/ 4156215 w 6544739"/>
                  <a:gd name="connsiteY3" fmla="*/ 505844 h 879781"/>
                  <a:gd name="connsiteX4" fmla="*/ 3786193 w 6544739"/>
                  <a:gd name="connsiteY4" fmla="*/ 876720 h 879781"/>
                  <a:gd name="connsiteX5" fmla="*/ 2574028 w 6544739"/>
                  <a:gd name="connsiteY5" fmla="*/ 879781 h 879781"/>
                  <a:gd name="connsiteX6" fmla="*/ 2227876 w 6544739"/>
                  <a:gd name="connsiteY6" fmla="*/ 516288 h 879781"/>
                  <a:gd name="connsiteX7" fmla="*/ 64222 w 6544739"/>
                  <a:gd name="connsiteY7" fmla="*/ 508906 h 879781"/>
                  <a:gd name="connsiteX8" fmla="*/ 917 w 6544739"/>
                  <a:gd name="connsiteY8" fmla="*/ 47578 h 879781"/>
                  <a:gd name="connsiteX0" fmla="*/ 482624 w 7107366"/>
                  <a:gd name="connsiteY0" fmla="*/ 32175 h 864378"/>
                  <a:gd name="connsiteX1" fmla="*/ 7107366 w 7107366"/>
                  <a:gd name="connsiteY1" fmla="*/ 35571 h 864378"/>
                  <a:gd name="connsiteX2" fmla="*/ 7026446 w 7107366"/>
                  <a:gd name="connsiteY2" fmla="*/ 490441 h 864378"/>
                  <a:gd name="connsiteX3" fmla="*/ 4637922 w 7107366"/>
                  <a:gd name="connsiteY3" fmla="*/ 490441 h 864378"/>
                  <a:gd name="connsiteX4" fmla="*/ 4267900 w 7107366"/>
                  <a:gd name="connsiteY4" fmla="*/ 861317 h 864378"/>
                  <a:gd name="connsiteX5" fmla="*/ 3055735 w 7107366"/>
                  <a:gd name="connsiteY5" fmla="*/ 864378 h 864378"/>
                  <a:gd name="connsiteX6" fmla="*/ 2709583 w 7107366"/>
                  <a:gd name="connsiteY6" fmla="*/ 500885 h 864378"/>
                  <a:gd name="connsiteX7" fmla="*/ 545929 w 7107366"/>
                  <a:gd name="connsiteY7" fmla="*/ 493503 h 864378"/>
                  <a:gd name="connsiteX8" fmla="*/ 482624 w 7107366"/>
                  <a:gd name="connsiteY8" fmla="*/ 32175 h 864378"/>
                  <a:gd name="connsiteX0" fmla="*/ 482624 w 7107366"/>
                  <a:gd name="connsiteY0" fmla="*/ 32175 h 864378"/>
                  <a:gd name="connsiteX1" fmla="*/ 7107366 w 7107366"/>
                  <a:gd name="connsiteY1" fmla="*/ 35571 h 864378"/>
                  <a:gd name="connsiteX2" fmla="*/ 7083090 w 7107366"/>
                  <a:gd name="connsiteY2" fmla="*/ 514717 h 864378"/>
                  <a:gd name="connsiteX3" fmla="*/ 4637922 w 7107366"/>
                  <a:gd name="connsiteY3" fmla="*/ 490441 h 864378"/>
                  <a:gd name="connsiteX4" fmla="*/ 4267900 w 7107366"/>
                  <a:gd name="connsiteY4" fmla="*/ 861317 h 864378"/>
                  <a:gd name="connsiteX5" fmla="*/ 3055735 w 7107366"/>
                  <a:gd name="connsiteY5" fmla="*/ 864378 h 864378"/>
                  <a:gd name="connsiteX6" fmla="*/ 2709583 w 7107366"/>
                  <a:gd name="connsiteY6" fmla="*/ 500885 h 864378"/>
                  <a:gd name="connsiteX7" fmla="*/ 545929 w 7107366"/>
                  <a:gd name="connsiteY7" fmla="*/ 493503 h 864378"/>
                  <a:gd name="connsiteX8" fmla="*/ 482624 w 7107366"/>
                  <a:gd name="connsiteY8" fmla="*/ 32175 h 864378"/>
                  <a:gd name="connsiteX0" fmla="*/ 480227 w 7080693"/>
                  <a:gd name="connsiteY0" fmla="*/ 32175 h 864378"/>
                  <a:gd name="connsiteX1" fmla="*/ 7072601 w 7080693"/>
                  <a:gd name="connsiteY1" fmla="*/ 35571 h 864378"/>
                  <a:gd name="connsiteX2" fmla="*/ 7080693 w 7080693"/>
                  <a:gd name="connsiteY2" fmla="*/ 514717 h 864378"/>
                  <a:gd name="connsiteX3" fmla="*/ 4635525 w 7080693"/>
                  <a:gd name="connsiteY3" fmla="*/ 490441 h 864378"/>
                  <a:gd name="connsiteX4" fmla="*/ 4265503 w 7080693"/>
                  <a:gd name="connsiteY4" fmla="*/ 861317 h 864378"/>
                  <a:gd name="connsiteX5" fmla="*/ 3053338 w 7080693"/>
                  <a:gd name="connsiteY5" fmla="*/ 864378 h 864378"/>
                  <a:gd name="connsiteX6" fmla="*/ 2707186 w 7080693"/>
                  <a:gd name="connsiteY6" fmla="*/ 500885 h 864378"/>
                  <a:gd name="connsiteX7" fmla="*/ 543532 w 7080693"/>
                  <a:gd name="connsiteY7" fmla="*/ 493503 h 864378"/>
                  <a:gd name="connsiteX8" fmla="*/ 480227 w 7080693"/>
                  <a:gd name="connsiteY8" fmla="*/ 32175 h 864378"/>
                  <a:gd name="connsiteX0" fmla="*/ 480227 w 7080693"/>
                  <a:gd name="connsiteY0" fmla="*/ 32175 h 864378"/>
                  <a:gd name="connsiteX1" fmla="*/ 7072601 w 7080693"/>
                  <a:gd name="connsiteY1" fmla="*/ 35571 h 864378"/>
                  <a:gd name="connsiteX2" fmla="*/ 7080693 w 7080693"/>
                  <a:gd name="connsiteY2" fmla="*/ 514717 h 864378"/>
                  <a:gd name="connsiteX3" fmla="*/ 4635525 w 7080693"/>
                  <a:gd name="connsiteY3" fmla="*/ 490441 h 864378"/>
                  <a:gd name="connsiteX4" fmla="*/ 4265503 w 7080693"/>
                  <a:gd name="connsiteY4" fmla="*/ 861317 h 864378"/>
                  <a:gd name="connsiteX5" fmla="*/ 3053338 w 7080693"/>
                  <a:gd name="connsiteY5" fmla="*/ 864378 h 864378"/>
                  <a:gd name="connsiteX6" fmla="*/ 2707186 w 7080693"/>
                  <a:gd name="connsiteY6" fmla="*/ 500885 h 864378"/>
                  <a:gd name="connsiteX7" fmla="*/ 543532 w 7080693"/>
                  <a:gd name="connsiteY7" fmla="*/ 493503 h 864378"/>
                  <a:gd name="connsiteX8" fmla="*/ 480227 w 7080693"/>
                  <a:gd name="connsiteY8" fmla="*/ 32175 h 864378"/>
                  <a:gd name="connsiteX0" fmla="*/ 0 w 6600466"/>
                  <a:gd name="connsiteY0" fmla="*/ 32175 h 864378"/>
                  <a:gd name="connsiteX1" fmla="*/ 6592374 w 6600466"/>
                  <a:gd name="connsiteY1" fmla="*/ 35571 h 864378"/>
                  <a:gd name="connsiteX2" fmla="*/ 6600466 w 6600466"/>
                  <a:gd name="connsiteY2" fmla="*/ 514717 h 864378"/>
                  <a:gd name="connsiteX3" fmla="*/ 4155298 w 6600466"/>
                  <a:gd name="connsiteY3" fmla="*/ 490441 h 864378"/>
                  <a:gd name="connsiteX4" fmla="*/ 3785276 w 6600466"/>
                  <a:gd name="connsiteY4" fmla="*/ 861317 h 864378"/>
                  <a:gd name="connsiteX5" fmla="*/ 2573111 w 6600466"/>
                  <a:gd name="connsiteY5" fmla="*/ 864378 h 864378"/>
                  <a:gd name="connsiteX6" fmla="*/ 2226959 w 6600466"/>
                  <a:gd name="connsiteY6" fmla="*/ 500885 h 864378"/>
                  <a:gd name="connsiteX7" fmla="*/ 63305 w 6600466"/>
                  <a:gd name="connsiteY7" fmla="*/ 493503 h 864378"/>
                  <a:gd name="connsiteX8" fmla="*/ 0 w 6600466"/>
                  <a:gd name="connsiteY8" fmla="*/ 32175 h 864378"/>
                  <a:gd name="connsiteX0" fmla="*/ 7840 w 6852146"/>
                  <a:gd name="connsiteY0" fmla="*/ 25637 h 892674"/>
                  <a:gd name="connsiteX1" fmla="*/ 6844054 w 6852146"/>
                  <a:gd name="connsiteY1" fmla="*/ 63867 h 892674"/>
                  <a:gd name="connsiteX2" fmla="*/ 6852146 w 6852146"/>
                  <a:gd name="connsiteY2" fmla="*/ 543013 h 892674"/>
                  <a:gd name="connsiteX3" fmla="*/ 4406978 w 6852146"/>
                  <a:gd name="connsiteY3" fmla="*/ 518737 h 892674"/>
                  <a:gd name="connsiteX4" fmla="*/ 4036956 w 6852146"/>
                  <a:gd name="connsiteY4" fmla="*/ 889613 h 892674"/>
                  <a:gd name="connsiteX5" fmla="*/ 2824791 w 6852146"/>
                  <a:gd name="connsiteY5" fmla="*/ 892674 h 892674"/>
                  <a:gd name="connsiteX6" fmla="*/ 2478639 w 6852146"/>
                  <a:gd name="connsiteY6" fmla="*/ 529181 h 892674"/>
                  <a:gd name="connsiteX7" fmla="*/ 314985 w 6852146"/>
                  <a:gd name="connsiteY7" fmla="*/ 521799 h 892674"/>
                  <a:gd name="connsiteX8" fmla="*/ 7840 w 6852146"/>
                  <a:gd name="connsiteY8" fmla="*/ 25637 h 892674"/>
                  <a:gd name="connsiteX0" fmla="*/ 7840 w 6852146"/>
                  <a:gd name="connsiteY0" fmla="*/ 8 h 867045"/>
                  <a:gd name="connsiteX1" fmla="*/ 6844054 w 6852146"/>
                  <a:gd name="connsiteY1" fmla="*/ 38238 h 867045"/>
                  <a:gd name="connsiteX2" fmla="*/ 6852146 w 6852146"/>
                  <a:gd name="connsiteY2" fmla="*/ 517384 h 867045"/>
                  <a:gd name="connsiteX3" fmla="*/ 4406978 w 6852146"/>
                  <a:gd name="connsiteY3" fmla="*/ 493108 h 867045"/>
                  <a:gd name="connsiteX4" fmla="*/ 4036956 w 6852146"/>
                  <a:gd name="connsiteY4" fmla="*/ 863984 h 867045"/>
                  <a:gd name="connsiteX5" fmla="*/ 2824791 w 6852146"/>
                  <a:gd name="connsiteY5" fmla="*/ 867045 h 867045"/>
                  <a:gd name="connsiteX6" fmla="*/ 2478639 w 6852146"/>
                  <a:gd name="connsiteY6" fmla="*/ 503552 h 867045"/>
                  <a:gd name="connsiteX7" fmla="*/ 314985 w 6852146"/>
                  <a:gd name="connsiteY7" fmla="*/ 496170 h 867045"/>
                  <a:gd name="connsiteX8" fmla="*/ 7840 w 6852146"/>
                  <a:gd name="connsiteY8" fmla="*/ 8 h 867045"/>
                  <a:gd name="connsiteX0" fmla="*/ 12026 w 6856332"/>
                  <a:gd name="connsiteY0" fmla="*/ 7 h 867044"/>
                  <a:gd name="connsiteX1" fmla="*/ 6848240 w 6856332"/>
                  <a:gd name="connsiteY1" fmla="*/ 38237 h 867044"/>
                  <a:gd name="connsiteX2" fmla="*/ 6856332 w 6856332"/>
                  <a:gd name="connsiteY2" fmla="*/ 517383 h 867044"/>
                  <a:gd name="connsiteX3" fmla="*/ 4411164 w 6856332"/>
                  <a:gd name="connsiteY3" fmla="*/ 493107 h 867044"/>
                  <a:gd name="connsiteX4" fmla="*/ 4041142 w 6856332"/>
                  <a:gd name="connsiteY4" fmla="*/ 863983 h 867044"/>
                  <a:gd name="connsiteX5" fmla="*/ 2828977 w 6856332"/>
                  <a:gd name="connsiteY5" fmla="*/ 867044 h 867044"/>
                  <a:gd name="connsiteX6" fmla="*/ 2482825 w 6856332"/>
                  <a:gd name="connsiteY6" fmla="*/ 503551 h 867044"/>
                  <a:gd name="connsiteX7" fmla="*/ 319171 w 6856332"/>
                  <a:gd name="connsiteY7" fmla="*/ 496169 h 867044"/>
                  <a:gd name="connsiteX8" fmla="*/ 12026 w 6856332"/>
                  <a:gd name="connsiteY8" fmla="*/ 7 h 867044"/>
                  <a:gd name="connsiteX0" fmla="*/ 0 w 6844306"/>
                  <a:gd name="connsiteY0" fmla="*/ 7 h 867044"/>
                  <a:gd name="connsiteX1" fmla="*/ 6836214 w 6844306"/>
                  <a:gd name="connsiteY1" fmla="*/ 38237 h 867044"/>
                  <a:gd name="connsiteX2" fmla="*/ 6844306 w 6844306"/>
                  <a:gd name="connsiteY2" fmla="*/ 517383 h 867044"/>
                  <a:gd name="connsiteX3" fmla="*/ 4399138 w 6844306"/>
                  <a:gd name="connsiteY3" fmla="*/ 493107 h 867044"/>
                  <a:gd name="connsiteX4" fmla="*/ 4029116 w 6844306"/>
                  <a:gd name="connsiteY4" fmla="*/ 863983 h 867044"/>
                  <a:gd name="connsiteX5" fmla="*/ 2816951 w 6844306"/>
                  <a:gd name="connsiteY5" fmla="*/ 867044 h 867044"/>
                  <a:gd name="connsiteX6" fmla="*/ 2470799 w 6844306"/>
                  <a:gd name="connsiteY6" fmla="*/ 503551 h 867044"/>
                  <a:gd name="connsiteX7" fmla="*/ 307145 w 6844306"/>
                  <a:gd name="connsiteY7" fmla="*/ 496169 h 867044"/>
                  <a:gd name="connsiteX8" fmla="*/ 0 w 6844306"/>
                  <a:gd name="connsiteY8" fmla="*/ 7 h 867044"/>
                  <a:gd name="connsiteX0" fmla="*/ 0 w 6844306"/>
                  <a:gd name="connsiteY0" fmla="*/ 6 h 867043"/>
                  <a:gd name="connsiteX1" fmla="*/ 6836214 w 6844306"/>
                  <a:gd name="connsiteY1" fmla="*/ 38236 h 867043"/>
                  <a:gd name="connsiteX2" fmla="*/ 6844306 w 6844306"/>
                  <a:gd name="connsiteY2" fmla="*/ 517382 h 867043"/>
                  <a:gd name="connsiteX3" fmla="*/ 4399138 w 6844306"/>
                  <a:gd name="connsiteY3" fmla="*/ 493106 h 867043"/>
                  <a:gd name="connsiteX4" fmla="*/ 4029116 w 6844306"/>
                  <a:gd name="connsiteY4" fmla="*/ 863982 h 867043"/>
                  <a:gd name="connsiteX5" fmla="*/ 2816951 w 6844306"/>
                  <a:gd name="connsiteY5" fmla="*/ 867043 h 867043"/>
                  <a:gd name="connsiteX6" fmla="*/ 2470799 w 6844306"/>
                  <a:gd name="connsiteY6" fmla="*/ 503550 h 867043"/>
                  <a:gd name="connsiteX7" fmla="*/ 106848 w 6844306"/>
                  <a:gd name="connsiteY7" fmla="*/ 513585 h 867043"/>
                  <a:gd name="connsiteX8" fmla="*/ 0 w 6844306"/>
                  <a:gd name="connsiteY8" fmla="*/ 6 h 867043"/>
                  <a:gd name="connsiteX0" fmla="*/ 2392521 w 6737467"/>
                  <a:gd name="connsiteY0" fmla="*/ 22730 h 828807"/>
                  <a:gd name="connsiteX1" fmla="*/ 6729375 w 6737467"/>
                  <a:gd name="connsiteY1" fmla="*/ 0 h 828807"/>
                  <a:gd name="connsiteX2" fmla="*/ 6737467 w 6737467"/>
                  <a:gd name="connsiteY2" fmla="*/ 479146 h 828807"/>
                  <a:gd name="connsiteX3" fmla="*/ 4292299 w 6737467"/>
                  <a:gd name="connsiteY3" fmla="*/ 454870 h 828807"/>
                  <a:gd name="connsiteX4" fmla="*/ 3922277 w 6737467"/>
                  <a:gd name="connsiteY4" fmla="*/ 825746 h 828807"/>
                  <a:gd name="connsiteX5" fmla="*/ 2710112 w 6737467"/>
                  <a:gd name="connsiteY5" fmla="*/ 828807 h 828807"/>
                  <a:gd name="connsiteX6" fmla="*/ 2363960 w 6737467"/>
                  <a:gd name="connsiteY6" fmla="*/ 465314 h 828807"/>
                  <a:gd name="connsiteX7" fmla="*/ 9 w 6737467"/>
                  <a:gd name="connsiteY7" fmla="*/ 475349 h 828807"/>
                  <a:gd name="connsiteX8" fmla="*/ 2392521 w 6737467"/>
                  <a:gd name="connsiteY8" fmla="*/ 22730 h 828807"/>
                  <a:gd name="connsiteX0" fmla="*/ 343513 w 4688459"/>
                  <a:gd name="connsiteY0" fmla="*/ 22730 h 828807"/>
                  <a:gd name="connsiteX1" fmla="*/ 4680367 w 4688459"/>
                  <a:gd name="connsiteY1" fmla="*/ 0 h 828807"/>
                  <a:gd name="connsiteX2" fmla="*/ 4688459 w 4688459"/>
                  <a:gd name="connsiteY2" fmla="*/ 479146 h 828807"/>
                  <a:gd name="connsiteX3" fmla="*/ 2243291 w 4688459"/>
                  <a:gd name="connsiteY3" fmla="*/ 454870 h 828807"/>
                  <a:gd name="connsiteX4" fmla="*/ 1873269 w 4688459"/>
                  <a:gd name="connsiteY4" fmla="*/ 825746 h 828807"/>
                  <a:gd name="connsiteX5" fmla="*/ 661104 w 4688459"/>
                  <a:gd name="connsiteY5" fmla="*/ 828807 h 828807"/>
                  <a:gd name="connsiteX6" fmla="*/ 314952 w 4688459"/>
                  <a:gd name="connsiteY6" fmla="*/ 465314 h 828807"/>
                  <a:gd name="connsiteX7" fmla="*/ 343513 w 4688459"/>
                  <a:gd name="connsiteY7" fmla="*/ 22730 h 828807"/>
                  <a:gd name="connsiteX0" fmla="*/ 343513 w 4680367"/>
                  <a:gd name="connsiteY0" fmla="*/ 22730 h 828807"/>
                  <a:gd name="connsiteX1" fmla="*/ 4680367 w 4680367"/>
                  <a:gd name="connsiteY1" fmla="*/ 0 h 828807"/>
                  <a:gd name="connsiteX2" fmla="*/ 3512801 w 4680367"/>
                  <a:gd name="connsiteY2" fmla="*/ 461729 h 828807"/>
                  <a:gd name="connsiteX3" fmla="*/ 2243291 w 4680367"/>
                  <a:gd name="connsiteY3" fmla="*/ 454870 h 828807"/>
                  <a:gd name="connsiteX4" fmla="*/ 1873269 w 4680367"/>
                  <a:gd name="connsiteY4" fmla="*/ 825746 h 828807"/>
                  <a:gd name="connsiteX5" fmla="*/ 661104 w 4680367"/>
                  <a:gd name="connsiteY5" fmla="*/ 828807 h 828807"/>
                  <a:gd name="connsiteX6" fmla="*/ 314952 w 4680367"/>
                  <a:gd name="connsiteY6" fmla="*/ 465314 h 828807"/>
                  <a:gd name="connsiteX7" fmla="*/ 343513 w 4680367"/>
                  <a:gd name="connsiteY7" fmla="*/ 22730 h 828807"/>
                  <a:gd name="connsiteX0" fmla="*/ 343513 w 3539545"/>
                  <a:gd name="connsiteY0" fmla="*/ 0 h 806077"/>
                  <a:gd name="connsiteX1" fmla="*/ 3539545 w 3539545"/>
                  <a:gd name="connsiteY1" fmla="*/ 38230 h 806077"/>
                  <a:gd name="connsiteX2" fmla="*/ 3512801 w 3539545"/>
                  <a:gd name="connsiteY2" fmla="*/ 438999 h 806077"/>
                  <a:gd name="connsiteX3" fmla="*/ 2243291 w 3539545"/>
                  <a:gd name="connsiteY3" fmla="*/ 432140 h 806077"/>
                  <a:gd name="connsiteX4" fmla="*/ 1873269 w 3539545"/>
                  <a:gd name="connsiteY4" fmla="*/ 803016 h 806077"/>
                  <a:gd name="connsiteX5" fmla="*/ 661104 w 3539545"/>
                  <a:gd name="connsiteY5" fmla="*/ 806077 h 806077"/>
                  <a:gd name="connsiteX6" fmla="*/ 314952 w 3539545"/>
                  <a:gd name="connsiteY6" fmla="*/ 442584 h 806077"/>
                  <a:gd name="connsiteX7" fmla="*/ 343513 w 3539545"/>
                  <a:gd name="connsiteY7" fmla="*/ 0 h 806077"/>
                  <a:gd name="connsiteX0" fmla="*/ 343513 w 3556962"/>
                  <a:gd name="connsiteY0" fmla="*/ 0 h 806077"/>
                  <a:gd name="connsiteX1" fmla="*/ 3556962 w 3556962"/>
                  <a:gd name="connsiteY1" fmla="*/ 12105 h 806077"/>
                  <a:gd name="connsiteX2" fmla="*/ 3512801 w 3556962"/>
                  <a:gd name="connsiteY2" fmla="*/ 438999 h 806077"/>
                  <a:gd name="connsiteX3" fmla="*/ 2243291 w 3556962"/>
                  <a:gd name="connsiteY3" fmla="*/ 432140 h 806077"/>
                  <a:gd name="connsiteX4" fmla="*/ 1873269 w 3556962"/>
                  <a:gd name="connsiteY4" fmla="*/ 803016 h 806077"/>
                  <a:gd name="connsiteX5" fmla="*/ 661104 w 3556962"/>
                  <a:gd name="connsiteY5" fmla="*/ 806077 h 806077"/>
                  <a:gd name="connsiteX6" fmla="*/ 314952 w 3556962"/>
                  <a:gd name="connsiteY6" fmla="*/ 442584 h 806077"/>
                  <a:gd name="connsiteX7" fmla="*/ 343513 w 3556962"/>
                  <a:gd name="connsiteY7" fmla="*/ 0 h 806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6962" h="806077">
                    <a:moveTo>
                      <a:pt x="343513" y="0"/>
                    </a:moveTo>
                    <a:cubicBezTo>
                      <a:pt x="1431691" y="28180"/>
                      <a:pt x="1375688" y="16368"/>
                      <a:pt x="3556962" y="12105"/>
                    </a:cubicBezTo>
                    <a:lnTo>
                      <a:pt x="3512801" y="438999"/>
                    </a:lnTo>
                    <a:lnTo>
                      <a:pt x="2243291" y="432140"/>
                    </a:lnTo>
                    <a:lnTo>
                      <a:pt x="1873269" y="803016"/>
                    </a:lnTo>
                    <a:lnTo>
                      <a:pt x="661104" y="806077"/>
                    </a:lnTo>
                    <a:lnTo>
                      <a:pt x="314952" y="442584"/>
                    </a:lnTo>
                    <a:cubicBezTo>
                      <a:pt x="262020" y="308238"/>
                      <a:pt x="-384056" y="77552"/>
                      <a:pt x="3435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" name="Прямоугольник 10"/>
              <p:cNvSpPr/>
              <p:nvPr/>
            </p:nvSpPr>
            <p:spPr>
              <a:xfrm>
                <a:off x="4667794" y="1"/>
                <a:ext cx="522515" cy="685799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grpSp>
        <p:nvGrpSpPr>
          <p:cNvPr id="23" name="Группа 22"/>
          <p:cNvGrpSpPr/>
          <p:nvPr userDrawn="1"/>
        </p:nvGrpSpPr>
        <p:grpSpPr>
          <a:xfrm>
            <a:off x="-11084" y="1"/>
            <a:ext cx="5201393" cy="6857999"/>
            <a:chOff x="-11084" y="1"/>
            <a:chExt cx="5201393" cy="6857999"/>
          </a:xfrm>
          <a:solidFill>
            <a:schemeClr val="bg1"/>
          </a:solidFill>
        </p:grpSpPr>
        <p:sp>
          <p:nvSpPr>
            <p:cNvPr id="24" name="Прямоугольник 2"/>
            <p:cNvSpPr/>
            <p:nvPr/>
          </p:nvSpPr>
          <p:spPr>
            <a:xfrm>
              <a:off x="-11084" y="1"/>
              <a:ext cx="5087389" cy="803564"/>
            </a:xfrm>
            <a:custGeom>
              <a:avLst/>
              <a:gdLst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0 w 5076305"/>
                <a:gd name="connsiteY3" fmla="*/ 471055 h 471055"/>
                <a:gd name="connsiteX4" fmla="*/ 0 w 5076305"/>
                <a:gd name="connsiteY4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71156 w 5076305"/>
                <a:gd name="connsiteY3" fmla="*/ 471055 h 471055"/>
                <a:gd name="connsiteX4" fmla="*/ 0 w 5076305"/>
                <a:gd name="connsiteY4" fmla="*/ 471055 h 471055"/>
                <a:gd name="connsiteX5" fmla="*/ 0 w 5076305"/>
                <a:gd name="connsiteY5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87781 w 5076305"/>
                <a:gd name="connsiteY3" fmla="*/ 471055 h 471055"/>
                <a:gd name="connsiteX4" fmla="*/ 0 w 5076305"/>
                <a:gd name="connsiteY4" fmla="*/ 471055 h 471055"/>
                <a:gd name="connsiteX5" fmla="*/ 0 w 5076305"/>
                <a:gd name="connsiteY5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87781 w 5076305"/>
                <a:gd name="connsiteY3" fmla="*/ 471055 h 471055"/>
                <a:gd name="connsiteX4" fmla="*/ 0 w 5076305"/>
                <a:gd name="connsiteY4" fmla="*/ 471055 h 471055"/>
                <a:gd name="connsiteX5" fmla="*/ 0 w 5076305"/>
                <a:gd name="connsiteY5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87781 w 5076305"/>
                <a:gd name="connsiteY3" fmla="*/ 471055 h 471055"/>
                <a:gd name="connsiteX4" fmla="*/ 2067098 w 5076305"/>
                <a:gd name="connsiteY4" fmla="*/ 471055 h 471055"/>
                <a:gd name="connsiteX5" fmla="*/ 0 w 5076305"/>
                <a:gd name="connsiteY5" fmla="*/ 471055 h 471055"/>
                <a:gd name="connsiteX6" fmla="*/ 0 w 5076305"/>
                <a:gd name="connsiteY6" fmla="*/ 0 h 471055"/>
                <a:gd name="connsiteX0" fmla="*/ 0 w 5076305"/>
                <a:gd name="connsiteY0" fmla="*/ 0 h 803564"/>
                <a:gd name="connsiteX1" fmla="*/ 5076305 w 5076305"/>
                <a:gd name="connsiteY1" fmla="*/ 0 h 803564"/>
                <a:gd name="connsiteX2" fmla="*/ 5076305 w 5076305"/>
                <a:gd name="connsiteY2" fmla="*/ 471055 h 803564"/>
                <a:gd name="connsiteX3" fmla="*/ 2687781 w 5076305"/>
                <a:gd name="connsiteY3" fmla="*/ 471055 h 803564"/>
                <a:gd name="connsiteX4" fmla="*/ 2349731 w 5076305"/>
                <a:gd name="connsiteY4" fmla="*/ 803564 h 803564"/>
                <a:gd name="connsiteX5" fmla="*/ 0 w 5076305"/>
                <a:gd name="connsiteY5" fmla="*/ 471055 h 803564"/>
                <a:gd name="connsiteX6" fmla="*/ 0 w 5076305"/>
                <a:gd name="connsiteY6" fmla="*/ 0 h 803564"/>
                <a:gd name="connsiteX0" fmla="*/ 5542 w 5081847"/>
                <a:gd name="connsiteY0" fmla="*/ 0 h 809106"/>
                <a:gd name="connsiteX1" fmla="*/ 5081847 w 5081847"/>
                <a:gd name="connsiteY1" fmla="*/ 0 h 809106"/>
                <a:gd name="connsiteX2" fmla="*/ 5081847 w 5081847"/>
                <a:gd name="connsiteY2" fmla="*/ 471055 h 809106"/>
                <a:gd name="connsiteX3" fmla="*/ 2693323 w 5081847"/>
                <a:gd name="connsiteY3" fmla="*/ 471055 h 809106"/>
                <a:gd name="connsiteX4" fmla="*/ 2355273 w 5081847"/>
                <a:gd name="connsiteY4" fmla="*/ 803564 h 809106"/>
                <a:gd name="connsiteX5" fmla="*/ 0 w 5081847"/>
                <a:gd name="connsiteY5" fmla="*/ 809106 h 809106"/>
                <a:gd name="connsiteX6" fmla="*/ 5542 w 5081847"/>
                <a:gd name="connsiteY6" fmla="*/ 0 h 809106"/>
                <a:gd name="connsiteX0" fmla="*/ 11084 w 5087389"/>
                <a:gd name="connsiteY0" fmla="*/ 0 h 803564"/>
                <a:gd name="connsiteX1" fmla="*/ 5087389 w 5087389"/>
                <a:gd name="connsiteY1" fmla="*/ 0 h 803564"/>
                <a:gd name="connsiteX2" fmla="*/ 5087389 w 5087389"/>
                <a:gd name="connsiteY2" fmla="*/ 471055 h 803564"/>
                <a:gd name="connsiteX3" fmla="*/ 2698865 w 5087389"/>
                <a:gd name="connsiteY3" fmla="*/ 471055 h 803564"/>
                <a:gd name="connsiteX4" fmla="*/ 2360815 w 5087389"/>
                <a:gd name="connsiteY4" fmla="*/ 803564 h 803564"/>
                <a:gd name="connsiteX5" fmla="*/ 0 w 5087389"/>
                <a:gd name="connsiteY5" fmla="*/ 798023 h 803564"/>
                <a:gd name="connsiteX6" fmla="*/ 11084 w 5087389"/>
                <a:gd name="connsiteY6" fmla="*/ 0 h 803564"/>
                <a:gd name="connsiteX0" fmla="*/ 11084 w 5087389"/>
                <a:gd name="connsiteY0" fmla="*/ 0 h 803564"/>
                <a:gd name="connsiteX1" fmla="*/ 5087389 w 5087389"/>
                <a:gd name="connsiteY1" fmla="*/ 0 h 803564"/>
                <a:gd name="connsiteX2" fmla="*/ 5087389 w 5087389"/>
                <a:gd name="connsiteY2" fmla="*/ 471055 h 803564"/>
                <a:gd name="connsiteX3" fmla="*/ 2698865 w 5087389"/>
                <a:gd name="connsiteY3" fmla="*/ 471055 h 803564"/>
                <a:gd name="connsiteX4" fmla="*/ 2360815 w 5087389"/>
                <a:gd name="connsiteY4" fmla="*/ 803564 h 803564"/>
                <a:gd name="connsiteX5" fmla="*/ 0 w 5087389"/>
                <a:gd name="connsiteY5" fmla="*/ 798023 h 803564"/>
                <a:gd name="connsiteX6" fmla="*/ 11084 w 5087389"/>
                <a:gd name="connsiteY6" fmla="*/ 0 h 80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87389" h="803564">
                  <a:moveTo>
                    <a:pt x="11084" y="0"/>
                  </a:moveTo>
                  <a:lnTo>
                    <a:pt x="5087389" y="0"/>
                  </a:lnTo>
                  <a:lnTo>
                    <a:pt x="5087389" y="471055"/>
                  </a:lnTo>
                  <a:lnTo>
                    <a:pt x="2698865" y="471055"/>
                  </a:lnTo>
                  <a:lnTo>
                    <a:pt x="2360815" y="803564"/>
                  </a:lnTo>
                  <a:lnTo>
                    <a:pt x="0" y="798023"/>
                  </a:lnTo>
                  <a:cubicBezTo>
                    <a:pt x="1847" y="528321"/>
                    <a:pt x="9237" y="269702"/>
                    <a:pt x="1108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"/>
            <p:cNvSpPr/>
            <p:nvPr/>
          </p:nvSpPr>
          <p:spPr>
            <a:xfrm flipV="1">
              <a:off x="-11084" y="6049370"/>
              <a:ext cx="5087389" cy="803564"/>
            </a:xfrm>
            <a:custGeom>
              <a:avLst/>
              <a:gdLst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0 w 5076305"/>
                <a:gd name="connsiteY3" fmla="*/ 471055 h 471055"/>
                <a:gd name="connsiteX4" fmla="*/ 0 w 5076305"/>
                <a:gd name="connsiteY4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71156 w 5076305"/>
                <a:gd name="connsiteY3" fmla="*/ 471055 h 471055"/>
                <a:gd name="connsiteX4" fmla="*/ 0 w 5076305"/>
                <a:gd name="connsiteY4" fmla="*/ 471055 h 471055"/>
                <a:gd name="connsiteX5" fmla="*/ 0 w 5076305"/>
                <a:gd name="connsiteY5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87781 w 5076305"/>
                <a:gd name="connsiteY3" fmla="*/ 471055 h 471055"/>
                <a:gd name="connsiteX4" fmla="*/ 0 w 5076305"/>
                <a:gd name="connsiteY4" fmla="*/ 471055 h 471055"/>
                <a:gd name="connsiteX5" fmla="*/ 0 w 5076305"/>
                <a:gd name="connsiteY5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87781 w 5076305"/>
                <a:gd name="connsiteY3" fmla="*/ 471055 h 471055"/>
                <a:gd name="connsiteX4" fmla="*/ 0 w 5076305"/>
                <a:gd name="connsiteY4" fmla="*/ 471055 h 471055"/>
                <a:gd name="connsiteX5" fmla="*/ 0 w 5076305"/>
                <a:gd name="connsiteY5" fmla="*/ 0 h 471055"/>
                <a:gd name="connsiteX0" fmla="*/ 0 w 5076305"/>
                <a:gd name="connsiteY0" fmla="*/ 0 h 471055"/>
                <a:gd name="connsiteX1" fmla="*/ 5076305 w 5076305"/>
                <a:gd name="connsiteY1" fmla="*/ 0 h 471055"/>
                <a:gd name="connsiteX2" fmla="*/ 5076305 w 5076305"/>
                <a:gd name="connsiteY2" fmla="*/ 471055 h 471055"/>
                <a:gd name="connsiteX3" fmla="*/ 2687781 w 5076305"/>
                <a:gd name="connsiteY3" fmla="*/ 471055 h 471055"/>
                <a:gd name="connsiteX4" fmla="*/ 2067098 w 5076305"/>
                <a:gd name="connsiteY4" fmla="*/ 471055 h 471055"/>
                <a:gd name="connsiteX5" fmla="*/ 0 w 5076305"/>
                <a:gd name="connsiteY5" fmla="*/ 471055 h 471055"/>
                <a:gd name="connsiteX6" fmla="*/ 0 w 5076305"/>
                <a:gd name="connsiteY6" fmla="*/ 0 h 471055"/>
                <a:gd name="connsiteX0" fmla="*/ 0 w 5076305"/>
                <a:gd name="connsiteY0" fmla="*/ 0 h 803564"/>
                <a:gd name="connsiteX1" fmla="*/ 5076305 w 5076305"/>
                <a:gd name="connsiteY1" fmla="*/ 0 h 803564"/>
                <a:gd name="connsiteX2" fmla="*/ 5076305 w 5076305"/>
                <a:gd name="connsiteY2" fmla="*/ 471055 h 803564"/>
                <a:gd name="connsiteX3" fmla="*/ 2687781 w 5076305"/>
                <a:gd name="connsiteY3" fmla="*/ 471055 h 803564"/>
                <a:gd name="connsiteX4" fmla="*/ 2349731 w 5076305"/>
                <a:gd name="connsiteY4" fmla="*/ 803564 h 803564"/>
                <a:gd name="connsiteX5" fmla="*/ 0 w 5076305"/>
                <a:gd name="connsiteY5" fmla="*/ 471055 h 803564"/>
                <a:gd name="connsiteX6" fmla="*/ 0 w 5076305"/>
                <a:gd name="connsiteY6" fmla="*/ 0 h 803564"/>
                <a:gd name="connsiteX0" fmla="*/ 5542 w 5081847"/>
                <a:gd name="connsiteY0" fmla="*/ 0 h 809106"/>
                <a:gd name="connsiteX1" fmla="*/ 5081847 w 5081847"/>
                <a:gd name="connsiteY1" fmla="*/ 0 h 809106"/>
                <a:gd name="connsiteX2" fmla="*/ 5081847 w 5081847"/>
                <a:gd name="connsiteY2" fmla="*/ 471055 h 809106"/>
                <a:gd name="connsiteX3" fmla="*/ 2693323 w 5081847"/>
                <a:gd name="connsiteY3" fmla="*/ 471055 h 809106"/>
                <a:gd name="connsiteX4" fmla="*/ 2355273 w 5081847"/>
                <a:gd name="connsiteY4" fmla="*/ 803564 h 809106"/>
                <a:gd name="connsiteX5" fmla="*/ 0 w 5081847"/>
                <a:gd name="connsiteY5" fmla="*/ 809106 h 809106"/>
                <a:gd name="connsiteX6" fmla="*/ 5542 w 5081847"/>
                <a:gd name="connsiteY6" fmla="*/ 0 h 809106"/>
                <a:gd name="connsiteX0" fmla="*/ 11084 w 5087389"/>
                <a:gd name="connsiteY0" fmla="*/ 0 h 803564"/>
                <a:gd name="connsiteX1" fmla="*/ 5087389 w 5087389"/>
                <a:gd name="connsiteY1" fmla="*/ 0 h 803564"/>
                <a:gd name="connsiteX2" fmla="*/ 5087389 w 5087389"/>
                <a:gd name="connsiteY2" fmla="*/ 471055 h 803564"/>
                <a:gd name="connsiteX3" fmla="*/ 2698865 w 5087389"/>
                <a:gd name="connsiteY3" fmla="*/ 471055 h 803564"/>
                <a:gd name="connsiteX4" fmla="*/ 2360815 w 5087389"/>
                <a:gd name="connsiteY4" fmla="*/ 803564 h 803564"/>
                <a:gd name="connsiteX5" fmla="*/ 0 w 5087389"/>
                <a:gd name="connsiteY5" fmla="*/ 798023 h 803564"/>
                <a:gd name="connsiteX6" fmla="*/ 11084 w 5087389"/>
                <a:gd name="connsiteY6" fmla="*/ 0 h 803564"/>
                <a:gd name="connsiteX0" fmla="*/ 11084 w 5087389"/>
                <a:gd name="connsiteY0" fmla="*/ 0 h 803564"/>
                <a:gd name="connsiteX1" fmla="*/ 5087389 w 5087389"/>
                <a:gd name="connsiteY1" fmla="*/ 0 h 803564"/>
                <a:gd name="connsiteX2" fmla="*/ 5087389 w 5087389"/>
                <a:gd name="connsiteY2" fmla="*/ 471055 h 803564"/>
                <a:gd name="connsiteX3" fmla="*/ 2698865 w 5087389"/>
                <a:gd name="connsiteY3" fmla="*/ 471055 h 803564"/>
                <a:gd name="connsiteX4" fmla="*/ 2360815 w 5087389"/>
                <a:gd name="connsiteY4" fmla="*/ 803564 h 803564"/>
                <a:gd name="connsiteX5" fmla="*/ 0 w 5087389"/>
                <a:gd name="connsiteY5" fmla="*/ 798023 h 803564"/>
                <a:gd name="connsiteX6" fmla="*/ 11084 w 5087389"/>
                <a:gd name="connsiteY6" fmla="*/ 0 h 80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87389" h="803564">
                  <a:moveTo>
                    <a:pt x="11084" y="0"/>
                  </a:moveTo>
                  <a:lnTo>
                    <a:pt x="5087389" y="0"/>
                  </a:lnTo>
                  <a:lnTo>
                    <a:pt x="5087389" y="471055"/>
                  </a:lnTo>
                  <a:lnTo>
                    <a:pt x="2698865" y="471055"/>
                  </a:lnTo>
                  <a:lnTo>
                    <a:pt x="2360815" y="803564"/>
                  </a:lnTo>
                  <a:lnTo>
                    <a:pt x="0" y="798023"/>
                  </a:lnTo>
                  <a:cubicBezTo>
                    <a:pt x="1847" y="528321"/>
                    <a:pt x="9237" y="269702"/>
                    <a:pt x="1108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26" name="Группа 25"/>
            <p:cNvGrpSpPr/>
            <p:nvPr/>
          </p:nvGrpSpPr>
          <p:grpSpPr>
            <a:xfrm>
              <a:off x="4300236" y="1"/>
              <a:ext cx="890073" cy="6857999"/>
              <a:chOff x="4300236" y="1"/>
              <a:chExt cx="890073" cy="6857999"/>
            </a:xfrm>
            <a:grpFill/>
          </p:grpSpPr>
          <p:sp>
            <p:nvSpPr>
              <p:cNvPr id="27" name="Прямоугольник 2"/>
              <p:cNvSpPr/>
              <p:nvPr/>
            </p:nvSpPr>
            <p:spPr>
              <a:xfrm rot="16200000" flipV="1">
                <a:off x="2924794" y="2517650"/>
                <a:ext cx="3556962" cy="806077"/>
              </a:xfrm>
              <a:custGeom>
                <a:avLst/>
                <a:gdLst>
                  <a:gd name="connsiteX0" fmla="*/ 0 w 5076305"/>
                  <a:gd name="connsiteY0" fmla="*/ 0 h 471055"/>
                  <a:gd name="connsiteX1" fmla="*/ 5076305 w 5076305"/>
                  <a:gd name="connsiteY1" fmla="*/ 0 h 471055"/>
                  <a:gd name="connsiteX2" fmla="*/ 5076305 w 5076305"/>
                  <a:gd name="connsiteY2" fmla="*/ 471055 h 471055"/>
                  <a:gd name="connsiteX3" fmla="*/ 0 w 5076305"/>
                  <a:gd name="connsiteY3" fmla="*/ 471055 h 471055"/>
                  <a:gd name="connsiteX4" fmla="*/ 0 w 5076305"/>
                  <a:gd name="connsiteY4" fmla="*/ 0 h 471055"/>
                  <a:gd name="connsiteX0" fmla="*/ 0 w 5076305"/>
                  <a:gd name="connsiteY0" fmla="*/ 0 h 471055"/>
                  <a:gd name="connsiteX1" fmla="*/ 5076305 w 5076305"/>
                  <a:gd name="connsiteY1" fmla="*/ 0 h 471055"/>
                  <a:gd name="connsiteX2" fmla="*/ 5076305 w 5076305"/>
                  <a:gd name="connsiteY2" fmla="*/ 471055 h 471055"/>
                  <a:gd name="connsiteX3" fmla="*/ 2671156 w 5076305"/>
                  <a:gd name="connsiteY3" fmla="*/ 471055 h 471055"/>
                  <a:gd name="connsiteX4" fmla="*/ 0 w 5076305"/>
                  <a:gd name="connsiteY4" fmla="*/ 471055 h 471055"/>
                  <a:gd name="connsiteX5" fmla="*/ 0 w 5076305"/>
                  <a:gd name="connsiteY5" fmla="*/ 0 h 471055"/>
                  <a:gd name="connsiteX0" fmla="*/ 0 w 5076305"/>
                  <a:gd name="connsiteY0" fmla="*/ 0 h 471055"/>
                  <a:gd name="connsiteX1" fmla="*/ 5076305 w 5076305"/>
                  <a:gd name="connsiteY1" fmla="*/ 0 h 471055"/>
                  <a:gd name="connsiteX2" fmla="*/ 5076305 w 5076305"/>
                  <a:gd name="connsiteY2" fmla="*/ 471055 h 471055"/>
                  <a:gd name="connsiteX3" fmla="*/ 2687781 w 5076305"/>
                  <a:gd name="connsiteY3" fmla="*/ 471055 h 471055"/>
                  <a:gd name="connsiteX4" fmla="*/ 0 w 5076305"/>
                  <a:gd name="connsiteY4" fmla="*/ 471055 h 471055"/>
                  <a:gd name="connsiteX5" fmla="*/ 0 w 5076305"/>
                  <a:gd name="connsiteY5" fmla="*/ 0 h 471055"/>
                  <a:gd name="connsiteX0" fmla="*/ 0 w 5076305"/>
                  <a:gd name="connsiteY0" fmla="*/ 0 h 471055"/>
                  <a:gd name="connsiteX1" fmla="*/ 5076305 w 5076305"/>
                  <a:gd name="connsiteY1" fmla="*/ 0 h 471055"/>
                  <a:gd name="connsiteX2" fmla="*/ 5076305 w 5076305"/>
                  <a:gd name="connsiteY2" fmla="*/ 471055 h 471055"/>
                  <a:gd name="connsiteX3" fmla="*/ 2687781 w 5076305"/>
                  <a:gd name="connsiteY3" fmla="*/ 471055 h 471055"/>
                  <a:gd name="connsiteX4" fmla="*/ 0 w 5076305"/>
                  <a:gd name="connsiteY4" fmla="*/ 471055 h 471055"/>
                  <a:gd name="connsiteX5" fmla="*/ 0 w 5076305"/>
                  <a:gd name="connsiteY5" fmla="*/ 0 h 471055"/>
                  <a:gd name="connsiteX0" fmla="*/ 0 w 5076305"/>
                  <a:gd name="connsiteY0" fmla="*/ 0 h 471055"/>
                  <a:gd name="connsiteX1" fmla="*/ 5076305 w 5076305"/>
                  <a:gd name="connsiteY1" fmla="*/ 0 h 471055"/>
                  <a:gd name="connsiteX2" fmla="*/ 5076305 w 5076305"/>
                  <a:gd name="connsiteY2" fmla="*/ 471055 h 471055"/>
                  <a:gd name="connsiteX3" fmla="*/ 2687781 w 5076305"/>
                  <a:gd name="connsiteY3" fmla="*/ 471055 h 471055"/>
                  <a:gd name="connsiteX4" fmla="*/ 2067098 w 5076305"/>
                  <a:gd name="connsiteY4" fmla="*/ 471055 h 471055"/>
                  <a:gd name="connsiteX5" fmla="*/ 0 w 5076305"/>
                  <a:gd name="connsiteY5" fmla="*/ 471055 h 471055"/>
                  <a:gd name="connsiteX6" fmla="*/ 0 w 5076305"/>
                  <a:gd name="connsiteY6" fmla="*/ 0 h 471055"/>
                  <a:gd name="connsiteX0" fmla="*/ 0 w 5076305"/>
                  <a:gd name="connsiteY0" fmla="*/ 0 h 803564"/>
                  <a:gd name="connsiteX1" fmla="*/ 5076305 w 5076305"/>
                  <a:gd name="connsiteY1" fmla="*/ 0 h 803564"/>
                  <a:gd name="connsiteX2" fmla="*/ 5076305 w 5076305"/>
                  <a:gd name="connsiteY2" fmla="*/ 471055 h 803564"/>
                  <a:gd name="connsiteX3" fmla="*/ 2687781 w 5076305"/>
                  <a:gd name="connsiteY3" fmla="*/ 471055 h 803564"/>
                  <a:gd name="connsiteX4" fmla="*/ 2349731 w 5076305"/>
                  <a:gd name="connsiteY4" fmla="*/ 803564 h 803564"/>
                  <a:gd name="connsiteX5" fmla="*/ 0 w 5076305"/>
                  <a:gd name="connsiteY5" fmla="*/ 471055 h 803564"/>
                  <a:gd name="connsiteX6" fmla="*/ 0 w 5076305"/>
                  <a:gd name="connsiteY6" fmla="*/ 0 h 803564"/>
                  <a:gd name="connsiteX0" fmla="*/ 5542 w 5081847"/>
                  <a:gd name="connsiteY0" fmla="*/ 0 h 809106"/>
                  <a:gd name="connsiteX1" fmla="*/ 5081847 w 5081847"/>
                  <a:gd name="connsiteY1" fmla="*/ 0 h 809106"/>
                  <a:gd name="connsiteX2" fmla="*/ 5081847 w 5081847"/>
                  <a:gd name="connsiteY2" fmla="*/ 471055 h 809106"/>
                  <a:gd name="connsiteX3" fmla="*/ 2693323 w 5081847"/>
                  <a:gd name="connsiteY3" fmla="*/ 471055 h 809106"/>
                  <a:gd name="connsiteX4" fmla="*/ 2355273 w 5081847"/>
                  <a:gd name="connsiteY4" fmla="*/ 803564 h 809106"/>
                  <a:gd name="connsiteX5" fmla="*/ 0 w 5081847"/>
                  <a:gd name="connsiteY5" fmla="*/ 809106 h 809106"/>
                  <a:gd name="connsiteX6" fmla="*/ 5542 w 5081847"/>
                  <a:gd name="connsiteY6" fmla="*/ 0 h 809106"/>
                  <a:gd name="connsiteX0" fmla="*/ 11084 w 5087389"/>
                  <a:gd name="connsiteY0" fmla="*/ 0 h 803564"/>
                  <a:gd name="connsiteX1" fmla="*/ 5087389 w 5087389"/>
                  <a:gd name="connsiteY1" fmla="*/ 0 h 803564"/>
                  <a:gd name="connsiteX2" fmla="*/ 5087389 w 5087389"/>
                  <a:gd name="connsiteY2" fmla="*/ 471055 h 803564"/>
                  <a:gd name="connsiteX3" fmla="*/ 2698865 w 5087389"/>
                  <a:gd name="connsiteY3" fmla="*/ 471055 h 803564"/>
                  <a:gd name="connsiteX4" fmla="*/ 2360815 w 5087389"/>
                  <a:gd name="connsiteY4" fmla="*/ 803564 h 803564"/>
                  <a:gd name="connsiteX5" fmla="*/ 0 w 5087389"/>
                  <a:gd name="connsiteY5" fmla="*/ 798023 h 803564"/>
                  <a:gd name="connsiteX6" fmla="*/ 11084 w 5087389"/>
                  <a:gd name="connsiteY6" fmla="*/ 0 h 803564"/>
                  <a:gd name="connsiteX0" fmla="*/ 11084 w 5087389"/>
                  <a:gd name="connsiteY0" fmla="*/ 0 h 803564"/>
                  <a:gd name="connsiteX1" fmla="*/ 5087389 w 5087389"/>
                  <a:gd name="connsiteY1" fmla="*/ 0 h 803564"/>
                  <a:gd name="connsiteX2" fmla="*/ 5087389 w 5087389"/>
                  <a:gd name="connsiteY2" fmla="*/ 471055 h 803564"/>
                  <a:gd name="connsiteX3" fmla="*/ 2698865 w 5087389"/>
                  <a:gd name="connsiteY3" fmla="*/ 471055 h 803564"/>
                  <a:gd name="connsiteX4" fmla="*/ 2360815 w 5087389"/>
                  <a:gd name="connsiteY4" fmla="*/ 803564 h 803564"/>
                  <a:gd name="connsiteX5" fmla="*/ 0 w 5087389"/>
                  <a:gd name="connsiteY5" fmla="*/ 798023 h 803564"/>
                  <a:gd name="connsiteX6" fmla="*/ 11084 w 5087389"/>
                  <a:gd name="connsiteY6" fmla="*/ 0 h 803564"/>
                  <a:gd name="connsiteX0" fmla="*/ 11084 w 5087389"/>
                  <a:gd name="connsiteY0" fmla="*/ 0 h 803564"/>
                  <a:gd name="connsiteX1" fmla="*/ 5087389 w 5087389"/>
                  <a:gd name="connsiteY1" fmla="*/ 0 h 803564"/>
                  <a:gd name="connsiteX2" fmla="*/ 5087389 w 5087389"/>
                  <a:gd name="connsiteY2" fmla="*/ 471055 h 803564"/>
                  <a:gd name="connsiteX3" fmla="*/ 2698865 w 5087389"/>
                  <a:gd name="connsiteY3" fmla="*/ 471055 h 803564"/>
                  <a:gd name="connsiteX4" fmla="*/ 2360815 w 5087389"/>
                  <a:gd name="connsiteY4" fmla="*/ 803564 h 803564"/>
                  <a:gd name="connsiteX5" fmla="*/ 1116678 w 5087389"/>
                  <a:gd name="connsiteY5" fmla="*/ 803428 h 803564"/>
                  <a:gd name="connsiteX6" fmla="*/ 0 w 5087389"/>
                  <a:gd name="connsiteY6" fmla="*/ 798023 h 803564"/>
                  <a:gd name="connsiteX7" fmla="*/ 11084 w 5087389"/>
                  <a:gd name="connsiteY7" fmla="*/ 0 h 803564"/>
                  <a:gd name="connsiteX0" fmla="*/ 5 w 5076310"/>
                  <a:gd name="connsiteY0" fmla="*/ 0 h 803564"/>
                  <a:gd name="connsiteX1" fmla="*/ 5076310 w 5076310"/>
                  <a:gd name="connsiteY1" fmla="*/ 0 h 803564"/>
                  <a:gd name="connsiteX2" fmla="*/ 5076310 w 5076310"/>
                  <a:gd name="connsiteY2" fmla="*/ 471055 h 803564"/>
                  <a:gd name="connsiteX3" fmla="*/ 2687786 w 5076310"/>
                  <a:gd name="connsiteY3" fmla="*/ 471055 h 803564"/>
                  <a:gd name="connsiteX4" fmla="*/ 2349736 w 5076310"/>
                  <a:gd name="connsiteY4" fmla="*/ 803564 h 803564"/>
                  <a:gd name="connsiteX5" fmla="*/ 1105599 w 5076310"/>
                  <a:gd name="connsiteY5" fmla="*/ 803428 h 803564"/>
                  <a:gd name="connsiteX6" fmla="*/ 618770 w 5076310"/>
                  <a:gd name="connsiteY6" fmla="*/ 302457 h 803564"/>
                  <a:gd name="connsiteX7" fmla="*/ 5 w 5076310"/>
                  <a:gd name="connsiteY7" fmla="*/ 0 h 803564"/>
                  <a:gd name="connsiteX0" fmla="*/ 5 w 5076310"/>
                  <a:gd name="connsiteY0" fmla="*/ 0 h 803564"/>
                  <a:gd name="connsiteX1" fmla="*/ 5076310 w 5076310"/>
                  <a:gd name="connsiteY1" fmla="*/ 0 h 803564"/>
                  <a:gd name="connsiteX2" fmla="*/ 5076310 w 5076310"/>
                  <a:gd name="connsiteY2" fmla="*/ 471055 h 803564"/>
                  <a:gd name="connsiteX3" fmla="*/ 2687786 w 5076310"/>
                  <a:gd name="connsiteY3" fmla="*/ 471055 h 803564"/>
                  <a:gd name="connsiteX4" fmla="*/ 2349736 w 5076310"/>
                  <a:gd name="connsiteY4" fmla="*/ 803564 h 803564"/>
                  <a:gd name="connsiteX5" fmla="*/ 1105599 w 5076310"/>
                  <a:gd name="connsiteY5" fmla="*/ 803428 h 803564"/>
                  <a:gd name="connsiteX6" fmla="*/ 618770 w 5076310"/>
                  <a:gd name="connsiteY6" fmla="*/ 302457 h 803564"/>
                  <a:gd name="connsiteX7" fmla="*/ 5 w 5076310"/>
                  <a:gd name="connsiteY7" fmla="*/ 0 h 803564"/>
                  <a:gd name="connsiteX0" fmla="*/ 201690 w 5277995"/>
                  <a:gd name="connsiteY0" fmla="*/ 0 h 803564"/>
                  <a:gd name="connsiteX1" fmla="*/ 5277995 w 5277995"/>
                  <a:gd name="connsiteY1" fmla="*/ 0 h 803564"/>
                  <a:gd name="connsiteX2" fmla="*/ 5277995 w 5277995"/>
                  <a:gd name="connsiteY2" fmla="*/ 471055 h 803564"/>
                  <a:gd name="connsiteX3" fmla="*/ 2889471 w 5277995"/>
                  <a:gd name="connsiteY3" fmla="*/ 471055 h 803564"/>
                  <a:gd name="connsiteX4" fmla="*/ 2551421 w 5277995"/>
                  <a:gd name="connsiteY4" fmla="*/ 803564 h 803564"/>
                  <a:gd name="connsiteX5" fmla="*/ 1307284 w 5277995"/>
                  <a:gd name="connsiteY5" fmla="*/ 803428 h 803564"/>
                  <a:gd name="connsiteX6" fmla="*/ 820455 w 5277995"/>
                  <a:gd name="connsiteY6" fmla="*/ 302457 h 803564"/>
                  <a:gd name="connsiteX7" fmla="*/ 993957 w 5277995"/>
                  <a:gd name="connsiteY7" fmla="*/ 474116 h 803564"/>
                  <a:gd name="connsiteX8" fmla="*/ 201690 w 5277995"/>
                  <a:gd name="connsiteY8" fmla="*/ 0 h 803564"/>
                  <a:gd name="connsiteX0" fmla="*/ 375518 w 5451823"/>
                  <a:gd name="connsiteY0" fmla="*/ 0 h 803564"/>
                  <a:gd name="connsiteX1" fmla="*/ 5451823 w 5451823"/>
                  <a:gd name="connsiteY1" fmla="*/ 0 h 803564"/>
                  <a:gd name="connsiteX2" fmla="*/ 5451823 w 5451823"/>
                  <a:gd name="connsiteY2" fmla="*/ 471055 h 803564"/>
                  <a:gd name="connsiteX3" fmla="*/ 3063299 w 5451823"/>
                  <a:gd name="connsiteY3" fmla="*/ 471055 h 803564"/>
                  <a:gd name="connsiteX4" fmla="*/ 2725249 w 5451823"/>
                  <a:gd name="connsiteY4" fmla="*/ 803564 h 803564"/>
                  <a:gd name="connsiteX5" fmla="*/ 1481112 w 5451823"/>
                  <a:gd name="connsiteY5" fmla="*/ 803428 h 803564"/>
                  <a:gd name="connsiteX6" fmla="*/ 994283 w 5451823"/>
                  <a:gd name="connsiteY6" fmla="*/ 302457 h 803564"/>
                  <a:gd name="connsiteX7" fmla="*/ 269371 w 5451823"/>
                  <a:gd name="connsiteY7" fmla="*/ 419764 h 803564"/>
                  <a:gd name="connsiteX8" fmla="*/ 375518 w 5451823"/>
                  <a:gd name="connsiteY8" fmla="*/ 0 h 803564"/>
                  <a:gd name="connsiteX0" fmla="*/ 375518 w 5451823"/>
                  <a:gd name="connsiteY0" fmla="*/ 0 h 803564"/>
                  <a:gd name="connsiteX1" fmla="*/ 5451823 w 5451823"/>
                  <a:gd name="connsiteY1" fmla="*/ 0 h 803564"/>
                  <a:gd name="connsiteX2" fmla="*/ 5451823 w 5451823"/>
                  <a:gd name="connsiteY2" fmla="*/ 471055 h 803564"/>
                  <a:gd name="connsiteX3" fmla="*/ 3063299 w 5451823"/>
                  <a:gd name="connsiteY3" fmla="*/ 471055 h 803564"/>
                  <a:gd name="connsiteX4" fmla="*/ 2725249 w 5451823"/>
                  <a:gd name="connsiteY4" fmla="*/ 803564 h 803564"/>
                  <a:gd name="connsiteX5" fmla="*/ 1481112 w 5451823"/>
                  <a:gd name="connsiteY5" fmla="*/ 803428 h 803564"/>
                  <a:gd name="connsiteX6" fmla="*/ 1163735 w 5451823"/>
                  <a:gd name="connsiteY6" fmla="*/ 494289 h 803564"/>
                  <a:gd name="connsiteX7" fmla="*/ 269371 w 5451823"/>
                  <a:gd name="connsiteY7" fmla="*/ 419764 h 803564"/>
                  <a:gd name="connsiteX8" fmla="*/ 375518 w 5451823"/>
                  <a:gd name="connsiteY8" fmla="*/ 0 h 803564"/>
                  <a:gd name="connsiteX0" fmla="*/ 375518 w 5451823"/>
                  <a:gd name="connsiteY0" fmla="*/ 0 h 841931"/>
                  <a:gd name="connsiteX1" fmla="*/ 5451823 w 5451823"/>
                  <a:gd name="connsiteY1" fmla="*/ 0 h 841931"/>
                  <a:gd name="connsiteX2" fmla="*/ 5451823 w 5451823"/>
                  <a:gd name="connsiteY2" fmla="*/ 471055 h 841931"/>
                  <a:gd name="connsiteX3" fmla="*/ 3063299 w 5451823"/>
                  <a:gd name="connsiteY3" fmla="*/ 471055 h 841931"/>
                  <a:gd name="connsiteX4" fmla="*/ 2693277 w 5451823"/>
                  <a:gd name="connsiteY4" fmla="*/ 841931 h 841931"/>
                  <a:gd name="connsiteX5" fmla="*/ 1481112 w 5451823"/>
                  <a:gd name="connsiteY5" fmla="*/ 803428 h 841931"/>
                  <a:gd name="connsiteX6" fmla="*/ 1163735 w 5451823"/>
                  <a:gd name="connsiteY6" fmla="*/ 494289 h 841931"/>
                  <a:gd name="connsiteX7" fmla="*/ 269371 w 5451823"/>
                  <a:gd name="connsiteY7" fmla="*/ 419764 h 841931"/>
                  <a:gd name="connsiteX8" fmla="*/ 375518 w 5451823"/>
                  <a:gd name="connsiteY8" fmla="*/ 0 h 841931"/>
                  <a:gd name="connsiteX0" fmla="*/ 375518 w 5451823"/>
                  <a:gd name="connsiteY0" fmla="*/ 0 h 844992"/>
                  <a:gd name="connsiteX1" fmla="*/ 5451823 w 5451823"/>
                  <a:gd name="connsiteY1" fmla="*/ 0 h 844992"/>
                  <a:gd name="connsiteX2" fmla="*/ 5451823 w 5451823"/>
                  <a:gd name="connsiteY2" fmla="*/ 471055 h 844992"/>
                  <a:gd name="connsiteX3" fmla="*/ 3063299 w 5451823"/>
                  <a:gd name="connsiteY3" fmla="*/ 471055 h 844992"/>
                  <a:gd name="connsiteX4" fmla="*/ 2693277 w 5451823"/>
                  <a:gd name="connsiteY4" fmla="*/ 841931 h 844992"/>
                  <a:gd name="connsiteX5" fmla="*/ 1481112 w 5451823"/>
                  <a:gd name="connsiteY5" fmla="*/ 844992 h 844992"/>
                  <a:gd name="connsiteX6" fmla="*/ 1163735 w 5451823"/>
                  <a:gd name="connsiteY6" fmla="*/ 494289 h 844992"/>
                  <a:gd name="connsiteX7" fmla="*/ 269371 w 5451823"/>
                  <a:gd name="connsiteY7" fmla="*/ 419764 h 844992"/>
                  <a:gd name="connsiteX8" fmla="*/ 375518 w 5451823"/>
                  <a:gd name="connsiteY8" fmla="*/ 0 h 844992"/>
                  <a:gd name="connsiteX0" fmla="*/ 375518 w 5451823"/>
                  <a:gd name="connsiteY0" fmla="*/ 0 h 844992"/>
                  <a:gd name="connsiteX1" fmla="*/ 5451823 w 5451823"/>
                  <a:gd name="connsiteY1" fmla="*/ 0 h 844992"/>
                  <a:gd name="connsiteX2" fmla="*/ 5451823 w 5451823"/>
                  <a:gd name="connsiteY2" fmla="*/ 471055 h 844992"/>
                  <a:gd name="connsiteX3" fmla="*/ 3063299 w 5451823"/>
                  <a:gd name="connsiteY3" fmla="*/ 471055 h 844992"/>
                  <a:gd name="connsiteX4" fmla="*/ 2693277 w 5451823"/>
                  <a:gd name="connsiteY4" fmla="*/ 841931 h 844992"/>
                  <a:gd name="connsiteX5" fmla="*/ 1481112 w 5451823"/>
                  <a:gd name="connsiteY5" fmla="*/ 844992 h 844992"/>
                  <a:gd name="connsiteX6" fmla="*/ 1134960 w 5451823"/>
                  <a:gd name="connsiteY6" fmla="*/ 484697 h 844992"/>
                  <a:gd name="connsiteX7" fmla="*/ 269371 w 5451823"/>
                  <a:gd name="connsiteY7" fmla="*/ 419764 h 844992"/>
                  <a:gd name="connsiteX8" fmla="*/ 375518 w 5451823"/>
                  <a:gd name="connsiteY8" fmla="*/ 0 h 844992"/>
                  <a:gd name="connsiteX0" fmla="*/ 1410140 w 6486445"/>
                  <a:gd name="connsiteY0" fmla="*/ 0 h 844992"/>
                  <a:gd name="connsiteX1" fmla="*/ 6486445 w 6486445"/>
                  <a:gd name="connsiteY1" fmla="*/ 0 h 844992"/>
                  <a:gd name="connsiteX2" fmla="*/ 6486445 w 6486445"/>
                  <a:gd name="connsiteY2" fmla="*/ 471055 h 844992"/>
                  <a:gd name="connsiteX3" fmla="*/ 4097921 w 6486445"/>
                  <a:gd name="connsiteY3" fmla="*/ 471055 h 844992"/>
                  <a:gd name="connsiteX4" fmla="*/ 3727899 w 6486445"/>
                  <a:gd name="connsiteY4" fmla="*/ 841931 h 844992"/>
                  <a:gd name="connsiteX5" fmla="*/ 2515734 w 6486445"/>
                  <a:gd name="connsiteY5" fmla="*/ 844992 h 844992"/>
                  <a:gd name="connsiteX6" fmla="*/ 2169582 w 6486445"/>
                  <a:gd name="connsiteY6" fmla="*/ 484697 h 844992"/>
                  <a:gd name="connsiteX7" fmla="*/ 9125 w 6486445"/>
                  <a:gd name="connsiteY7" fmla="*/ 461328 h 844992"/>
                  <a:gd name="connsiteX8" fmla="*/ 1410140 w 6486445"/>
                  <a:gd name="connsiteY8" fmla="*/ 0 h 844992"/>
                  <a:gd name="connsiteX0" fmla="*/ 323035 w 6866857"/>
                  <a:gd name="connsiteY0" fmla="*/ 12789 h 844992"/>
                  <a:gd name="connsiteX1" fmla="*/ 6866857 w 6866857"/>
                  <a:gd name="connsiteY1" fmla="*/ 0 h 844992"/>
                  <a:gd name="connsiteX2" fmla="*/ 6866857 w 6866857"/>
                  <a:gd name="connsiteY2" fmla="*/ 471055 h 844992"/>
                  <a:gd name="connsiteX3" fmla="*/ 4478333 w 6866857"/>
                  <a:gd name="connsiteY3" fmla="*/ 471055 h 844992"/>
                  <a:gd name="connsiteX4" fmla="*/ 4108311 w 6866857"/>
                  <a:gd name="connsiteY4" fmla="*/ 841931 h 844992"/>
                  <a:gd name="connsiteX5" fmla="*/ 2896146 w 6866857"/>
                  <a:gd name="connsiteY5" fmla="*/ 844992 h 844992"/>
                  <a:gd name="connsiteX6" fmla="*/ 2549994 w 6866857"/>
                  <a:gd name="connsiteY6" fmla="*/ 484697 h 844992"/>
                  <a:gd name="connsiteX7" fmla="*/ 389537 w 6866857"/>
                  <a:gd name="connsiteY7" fmla="*/ 461328 h 844992"/>
                  <a:gd name="connsiteX8" fmla="*/ 323035 w 6866857"/>
                  <a:gd name="connsiteY8" fmla="*/ 12789 h 844992"/>
                  <a:gd name="connsiteX0" fmla="*/ 975138 w 7518960"/>
                  <a:gd name="connsiteY0" fmla="*/ 12789 h 844992"/>
                  <a:gd name="connsiteX1" fmla="*/ 7518960 w 7518960"/>
                  <a:gd name="connsiteY1" fmla="*/ 0 h 844992"/>
                  <a:gd name="connsiteX2" fmla="*/ 7518960 w 7518960"/>
                  <a:gd name="connsiteY2" fmla="*/ 471055 h 844992"/>
                  <a:gd name="connsiteX3" fmla="*/ 5130436 w 7518960"/>
                  <a:gd name="connsiteY3" fmla="*/ 471055 h 844992"/>
                  <a:gd name="connsiteX4" fmla="*/ 4760414 w 7518960"/>
                  <a:gd name="connsiteY4" fmla="*/ 841931 h 844992"/>
                  <a:gd name="connsiteX5" fmla="*/ 3548249 w 7518960"/>
                  <a:gd name="connsiteY5" fmla="*/ 844992 h 844992"/>
                  <a:gd name="connsiteX6" fmla="*/ 3202097 w 7518960"/>
                  <a:gd name="connsiteY6" fmla="*/ 484697 h 844992"/>
                  <a:gd name="connsiteX7" fmla="*/ 1041640 w 7518960"/>
                  <a:gd name="connsiteY7" fmla="*/ 461328 h 844992"/>
                  <a:gd name="connsiteX8" fmla="*/ 975138 w 7518960"/>
                  <a:gd name="connsiteY8" fmla="*/ 12789 h 844992"/>
                  <a:gd name="connsiteX0" fmla="*/ 485494 w 7029316"/>
                  <a:gd name="connsiteY0" fmla="*/ 36734 h 868937"/>
                  <a:gd name="connsiteX1" fmla="*/ 7029316 w 7029316"/>
                  <a:gd name="connsiteY1" fmla="*/ 23945 h 868937"/>
                  <a:gd name="connsiteX2" fmla="*/ 7029316 w 7029316"/>
                  <a:gd name="connsiteY2" fmla="*/ 495000 h 868937"/>
                  <a:gd name="connsiteX3" fmla="*/ 4640792 w 7029316"/>
                  <a:gd name="connsiteY3" fmla="*/ 495000 h 868937"/>
                  <a:gd name="connsiteX4" fmla="*/ 4270770 w 7029316"/>
                  <a:gd name="connsiteY4" fmla="*/ 865876 h 868937"/>
                  <a:gd name="connsiteX5" fmla="*/ 3058605 w 7029316"/>
                  <a:gd name="connsiteY5" fmla="*/ 868937 h 868937"/>
                  <a:gd name="connsiteX6" fmla="*/ 2712453 w 7029316"/>
                  <a:gd name="connsiteY6" fmla="*/ 508642 h 868937"/>
                  <a:gd name="connsiteX7" fmla="*/ 551996 w 7029316"/>
                  <a:gd name="connsiteY7" fmla="*/ 485273 h 868937"/>
                  <a:gd name="connsiteX8" fmla="*/ 485494 w 7029316"/>
                  <a:gd name="connsiteY8" fmla="*/ 36734 h 868937"/>
                  <a:gd name="connsiteX0" fmla="*/ 485494 w 7029316"/>
                  <a:gd name="connsiteY0" fmla="*/ 36734 h 868937"/>
                  <a:gd name="connsiteX1" fmla="*/ 7029316 w 7029316"/>
                  <a:gd name="connsiteY1" fmla="*/ 23945 h 868937"/>
                  <a:gd name="connsiteX2" fmla="*/ 7029316 w 7029316"/>
                  <a:gd name="connsiteY2" fmla="*/ 495000 h 868937"/>
                  <a:gd name="connsiteX3" fmla="*/ 4640792 w 7029316"/>
                  <a:gd name="connsiteY3" fmla="*/ 495000 h 868937"/>
                  <a:gd name="connsiteX4" fmla="*/ 4270770 w 7029316"/>
                  <a:gd name="connsiteY4" fmla="*/ 865876 h 868937"/>
                  <a:gd name="connsiteX5" fmla="*/ 3058605 w 7029316"/>
                  <a:gd name="connsiteY5" fmla="*/ 868937 h 868937"/>
                  <a:gd name="connsiteX6" fmla="*/ 2712453 w 7029316"/>
                  <a:gd name="connsiteY6" fmla="*/ 508642 h 868937"/>
                  <a:gd name="connsiteX7" fmla="*/ 551996 w 7029316"/>
                  <a:gd name="connsiteY7" fmla="*/ 485273 h 868937"/>
                  <a:gd name="connsiteX8" fmla="*/ 485494 w 7029316"/>
                  <a:gd name="connsiteY8" fmla="*/ 36734 h 868937"/>
                  <a:gd name="connsiteX0" fmla="*/ 485494 w 7029316"/>
                  <a:gd name="connsiteY0" fmla="*/ 36734 h 868937"/>
                  <a:gd name="connsiteX1" fmla="*/ 7029316 w 7029316"/>
                  <a:gd name="connsiteY1" fmla="*/ 23945 h 868937"/>
                  <a:gd name="connsiteX2" fmla="*/ 7029316 w 7029316"/>
                  <a:gd name="connsiteY2" fmla="*/ 495000 h 868937"/>
                  <a:gd name="connsiteX3" fmla="*/ 4640792 w 7029316"/>
                  <a:gd name="connsiteY3" fmla="*/ 495000 h 868937"/>
                  <a:gd name="connsiteX4" fmla="*/ 4270770 w 7029316"/>
                  <a:gd name="connsiteY4" fmla="*/ 865876 h 868937"/>
                  <a:gd name="connsiteX5" fmla="*/ 3058605 w 7029316"/>
                  <a:gd name="connsiteY5" fmla="*/ 868937 h 868937"/>
                  <a:gd name="connsiteX6" fmla="*/ 2712453 w 7029316"/>
                  <a:gd name="connsiteY6" fmla="*/ 508642 h 868937"/>
                  <a:gd name="connsiteX7" fmla="*/ 551996 w 7029316"/>
                  <a:gd name="connsiteY7" fmla="*/ 485273 h 868937"/>
                  <a:gd name="connsiteX8" fmla="*/ 485494 w 7029316"/>
                  <a:gd name="connsiteY8" fmla="*/ 36734 h 868937"/>
                  <a:gd name="connsiteX0" fmla="*/ 485494 w 7029316"/>
                  <a:gd name="connsiteY0" fmla="*/ 36734 h 868937"/>
                  <a:gd name="connsiteX1" fmla="*/ 7029316 w 7029316"/>
                  <a:gd name="connsiteY1" fmla="*/ 23945 h 868937"/>
                  <a:gd name="connsiteX2" fmla="*/ 7029316 w 7029316"/>
                  <a:gd name="connsiteY2" fmla="*/ 495000 h 868937"/>
                  <a:gd name="connsiteX3" fmla="*/ 4640792 w 7029316"/>
                  <a:gd name="connsiteY3" fmla="*/ 495000 h 868937"/>
                  <a:gd name="connsiteX4" fmla="*/ 4270770 w 7029316"/>
                  <a:gd name="connsiteY4" fmla="*/ 865876 h 868937"/>
                  <a:gd name="connsiteX5" fmla="*/ 3058605 w 7029316"/>
                  <a:gd name="connsiteY5" fmla="*/ 868937 h 868937"/>
                  <a:gd name="connsiteX6" fmla="*/ 2712453 w 7029316"/>
                  <a:gd name="connsiteY6" fmla="*/ 508642 h 868937"/>
                  <a:gd name="connsiteX7" fmla="*/ 551996 w 7029316"/>
                  <a:gd name="connsiteY7" fmla="*/ 485273 h 868937"/>
                  <a:gd name="connsiteX8" fmla="*/ 485494 w 7029316"/>
                  <a:gd name="connsiteY8" fmla="*/ 36734 h 868937"/>
                  <a:gd name="connsiteX0" fmla="*/ 466681 w 7010503"/>
                  <a:gd name="connsiteY0" fmla="*/ 36734 h 868937"/>
                  <a:gd name="connsiteX1" fmla="*/ 7010503 w 7010503"/>
                  <a:gd name="connsiteY1" fmla="*/ 23945 h 868937"/>
                  <a:gd name="connsiteX2" fmla="*/ 7010503 w 7010503"/>
                  <a:gd name="connsiteY2" fmla="*/ 495000 h 868937"/>
                  <a:gd name="connsiteX3" fmla="*/ 4621979 w 7010503"/>
                  <a:gd name="connsiteY3" fmla="*/ 495000 h 868937"/>
                  <a:gd name="connsiteX4" fmla="*/ 4251957 w 7010503"/>
                  <a:gd name="connsiteY4" fmla="*/ 865876 h 868937"/>
                  <a:gd name="connsiteX5" fmla="*/ 3039792 w 7010503"/>
                  <a:gd name="connsiteY5" fmla="*/ 868937 h 868937"/>
                  <a:gd name="connsiteX6" fmla="*/ 2693640 w 7010503"/>
                  <a:gd name="connsiteY6" fmla="*/ 508642 h 868937"/>
                  <a:gd name="connsiteX7" fmla="*/ 533183 w 7010503"/>
                  <a:gd name="connsiteY7" fmla="*/ 485273 h 868937"/>
                  <a:gd name="connsiteX8" fmla="*/ 466681 w 7010503"/>
                  <a:gd name="connsiteY8" fmla="*/ 36734 h 868937"/>
                  <a:gd name="connsiteX0" fmla="*/ 467701 w 7011523"/>
                  <a:gd name="connsiteY0" fmla="*/ 37675 h 869878"/>
                  <a:gd name="connsiteX1" fmla="*/ 7011523 w 7011523"/>
                  <a:gd name="connsiteY1" fmla="*/ 24886 h 869878"/>
                  <a:gd name="connsiteX2" fmla="*/ 7011523 w 7011523"/>
                  <a:gd name="connsiteY2" fmla="*/ 495941 h 869878"/>
                  <a:gd name="connsiteX3" fmla="*/ 4622999 w 7011523"/>
                  <a:gd name="connsiteY3" fmla="*/ 495941 h 869878"/>
                  <a:gd name="connsiteX4" fmla="*/ 4252977 w 7011523"/>
                  <a:gd name="connsiteY4" fmla="*/ 866817 h 869878"/>
                  <a:gd name="connsiteX5" fmla="*/ 3040812 w 7011523"/>
                  <a:gd name="connsiteY5" fmla="*/ 869878 h 869878"/>
                  <a:gd name="connsiteX6" fmla="*/ 2694660 w 7011523"/>
                  <a:gd name="connsiteY6" fmla="*/ 509583 h 869878"/>
                  <a:gd name="connsiteX7" fmla="*/ 531006 w 7011523"/>
                  <a:gd name="connsiteY7" fmla="*/ 499003 h 869878"/>
                  <a:gd name="connsiteX8" fmla="*/ 467701 w 7011523"/>
                  <a:gd name="connsiteY8" fmla="*/ 37675 h 869878"/>
                  <a:gd name="connsiteX0" fmla="*/ 552526 w 7096348"/>
                  <a:gd name="connsiteY0" fmla="*/ 37675 h 869878"/>
                  <a:gd name="connsiteX1" fmla="*/ 7096348 w 7096348"/>
                  <a:gd name="connsiteY1" fmla="*/ 24886 h 869878"/>
                  <a:gd name="connsiteX2" fmla="*/ 7096348 w 7096348"/>
                  <a:gd name="connsiteY2" fmla="*/ 495941 h 869878"/>
                  <a:gd name="connsiteX3" fmla="*/ 4707824 w 7096348"/>
                  <a:gd name="connsiteY3" fmla="*/ 495941 h 869878"/>
                  <a:gd name="connsiteX4" fmla="*/ 4337802 w 7096348"/>
                  <a:gd name="connsiteY4" fmla="*/ 866817 h 869878"/>
                  <a:gd name="connsiteX5" fmla="*/ 3125637 w 7096348"/>
                  <a:gd name="connsiteY5" fmla="*/ 869878 h 869878"/>
                  <a:gd name="connsiteX6" fmla="*/ 2779485 w 7096348"/>
                  <a:gd name="connsiteY6" fmla="*/ 506385 h 869878"/>
                  <a:gd name="connsiteX7" fmla="*/ 615831 w 7096348"/>
                  <a:gd name="connsiteY7" fmla="*/ 499003 h 869878"/>
                  <a:gd name="connsiteX8" fmla="*/ 552526 w 7096348"/>
                  <a:gd name="connsiteY8" fmla="*/ 37675 h 869878"/>
                  <a:gd name="connsiteX0" fmla="*/ 1207880 w 7751702"/>
                  <a:gd name="connsiteY0" fmla="*/ 37675 h 869878"/>
                  <a:gd name="connsiteX1" fmla="*/ 7751702 w 7751702"/>
                  <a:gd name="connsiteY1" fmla="*/ 24886 h 869878"/>
                  <a:gd name="connsiteX2" fmla="*/ 7751702 w 7751702"/>
                  <a:gd name="connsiteY2" fmla="*/ 495941 h 869878"/>
                  <a:gd name="connsiteX3" fmla="*/ 5363178 w 7751702"/>
                  <a:gd name="connsiteY3" fmla="*/ 495941 h 869878"/>
                  <a:gd name="connsiteX4" fmla="*/ 4993156 w 7751702"/>
                  <a:gd name="connsiteY4" fmla="*/ 866817 h 869878"/>
                  <a:gd name="connsiteX5" fmla="*/ 3780991 w 7751702"/>
                  <a:gd name="connsiteY5" fmla="*/ 869878 h 869878"/>
                  <a:gd name="connsiteX6" fmla="*/ 3434839 w 7751702"/>
                  <a:gd name="connsiteY6" fmla="*/ 506385 h 869878"/>
                  <a:gd name="connsiteX7" fmla="*/ 1271185 w 7751702"/>
                  <a:gd name="connsiteY7" fmla="*/ 499003 h 869878"/>
                  <a:gd name="connsiteX8" fmla="*/ 1207880 w 7751702"/>
                  <a:gd name="connsiteY8" fmla="*/ 37675 h 869878"/>
                  <a:gd name="connsiteX0" fmla="*/ 895931 w 7439753"/>
                  <a:gd name="connsiteY0" fmla="*/ 47578 h 879781"/>
                  <a:gd name="connsiteX1" fmla="*/ 7439753 w 7439753"/>
                  <a:gd name="connsiteY1" fmla="*/ 34789 h 879781"/>
                  <a:gd name="connsiteX2" fmla="*/ 7439753 w 7439753"/>
                  <a:gd name="connsiteY2" fmla="*/ 505844 h 879781"/>
                  <a:gd name="connsiteX3" fmla="*/ 5051229 w 7439753"/>
                  <a:gd name="connsiteY3" fmla="*/ 505844 h 879781"/>
                  <a:gd name="connsiteX4" fmla="*/ 4681207 w 7439753"/>
                  <a:gd name="connsiteY4" fmla="*/ 876720 h 879781"/>
                  <a:gd name="connsiteX5" fmla="*/ 3469042 w 7439753"/>
                  <a:gd name="connsiteY5" fmla="*/ 879781 h 879781"/>
                  <a:gd name="connsiteX6" fmla="*/ 3122890 w 7439753"/>
                  <a:gd name="connsiteY6" fmla="*/ 516288 h 879781"/>
                  <a:gd name="connsiteX7" fmla="*/ 959236 w 7439753"/>
                  <a:gd name="connsiteY7" fmla="*/ 508906 h 879781"/>
                  <a:gd name="connsiteX8" fmla="*/ 895931 w 7439753"/>
                  <a:gd name="connsiteY8" fmla="*/ 47578 h 879781"/>
                  <a:gd name="connsiteX0" fmla="*/ 917 w 6544739"/>
                  <a:gd name="connsiteY0" fmla="*/ 47578 h 879781"/>
                  <a:gd name="connsiteX1" fmla="*/ 6544739 w 6544739"/>
                  <a:gd name="connsiteY1" fmla="*/ 34789 h 879781"/>
                  <a:gd name="connsiteX2" fmla="*/ 6544739 w 6544739"/>
                  <a:gd name="connsiteY2" fmla="*/ 505844 h 879781"/>
                  <a:gd name="connsiteX3" fmla="*/ 4156215 w 6544739"/>
                  <a:gd name="connsiteY3" fmla="*/ 505844 h 879781"/>
                  <a:gd name="connsiteX4" fmla="*/ 3786193 w 6544739"/>
                  <a:gd name="connsiteY4" fmla="*/ 876720 h 879781"/>
                  <a:gd name="connsiteX5" fmla="*/ 2574028 w 6544739"/>
                  <a:gd name="connsiteY5" fmla="*/ 879781 h 879781"/>
                  <a:gd name="connsiteX6" fmla="*/ 2227876 w 6544739"/>
                  <a:gd name="connsiteY6" fmla="*/ 516288 h 879781"/>
                  <a:gd name="connsiteX7" fmla="*/ 64222 w 6544739"/>
                  <a:gd name="connsiteY7" fmla="*/ 508906 h 879781"/>
                  <a:gd name="connsiteX8" fmla="*/ 917 w 6544739"/>
                  <a:gd name="connsiteY8" fmla="*/ 47578 h 879781"/>
                  <a:gd name="connsiteX0" fmla="*/ 482624 w 7107366"/>
                  <a:gd name="connsiteY0" fmla="*/ 32175 h 864378"/>
                  <a:gd name="connsiteX1" fmla="*/ 7107366 w 7107366"/>
                  <a:gd name="connsiteY1" fmla="*/ 35571 h 864378"/>
                  <a:gd name="connsiteX2" fmla="*/ 7026446 w 7107366"/>
                  <a:gd name="connsiteY2" fmla="*/ 490441 h 864378"/>
                  <a:gd name="connsiteX3" fmla="*/ 4637922 w 7107366"/>
                  <a:gd name="connsiteY3" fmla="*/ 490441 h 864378"/>
                  <a:gd name="connsiteX4" fmla="*/ 4267900 w 7107366"/>
                  <a:gd name="connsiteY4" fmla="*/ 861317 h 864378"/>
                  <a:gd name="connsiteX5" fmla="*/ 3055735 w 7107366"/>
                  <a:gd name="connsiteY5" fmla="*/ 864378 h 864378"/>
                  <a:gd name="connsiteX6" fmla="*/ 2709583 w 7107366"/>
                  <a:gd name="connsiteY6" fmla="*/ 500885 h 864378"/>
                  <a:gd name="connsiteX7" fmla="*/ 545929 w 7107366"/>
                  <a:gd name="connsiteY7" fmla="*/ 493503 h 864378"/>
                  <a:gd name="connsiteX8" fmla="*/ 482624 w 7107366"/>
                  <a:gd name="connsiteY8" fmla="*/ 32175 h 864378"/>
                  <a:gd name="connsiteX0" fmla="*/ 482624 w 7107366"/>
                  <a:gd name="connsiteY0" fmla="*/ 32175 h 864378"/>
                  <a:gd name="connsiteX1" fmla="*/ 7107366 w 7107366"/>
                  <a:gd name="connsiteY1" fmla="*/ 35571 h 864378"/>
                  <a:gd name="connsiteX2" fmla="*/ 7083090 w 7107366"/>
                  <a:gd name="connsiteY2" fmla="*/ 514717 h 864378"/>
                  <a:gd name="connsiteX3" fmla="*/ 4637922 w 7107366"/>
                  <a:gd name="connsiteY3" fmla="*/ 490441 h 864378"/>
                  <a:gd name="connsiteX4" fmla="*/ 4267900 w 7107366"/>
                  <a:gd name="connsiteY4" fmla="*/ 861317 h 864378"/>
                  <a:gd name="connsiteX5" fmla="*/ 3055735 w 7107366"/>
                  <a:gd name="connsiteY5" fmla="*/ 864378 h 864378"/>
                  <a:gd name="connsiteX6" fmla="*/ 2709583 w 7107366"/>
                  <a:gd name="connsiteY6" fmla="*/ 500885 h 864378"/>
                  <a:gd name="connsiteX7" fmla="*/ 545929 w 7107366"/>
                  <a:gd name="connsiteY7" fmla="*/ 493503 h 864378"/>
                  <a:gd name="connsiteX8" fmla="*/ 482624 w 7107366"/>
                  <a:gd name="connsiteY8" fmla="*/ 32175 h 864378"/>
                  <a:gd name="connsiteX0" fmla="*/ 480227 w 7080693"/>
                  <a:gd name="connsiteY0" fmla="*/ 32175 h 864378"/>
                  <a:gd name="connsiteX1" fmla="*/ 7072601 w 7080693"/>
                  <a:gd name="connsiteY1" fmla="*/ 35571 h 864378"/>
                  <a:gd name="connsiteX2" fmla="*/ 7080693 w 7080693"/>
                  <a:gd name="connsiteY2" fmla="*/ 514717 h 864378"/>
                  <a:gd name="connsiteX3" fmla="*/ 4635525 w 7080693"/>
                  <a:gd name="connsiteY3" fmla="*/ 490441 h 864378"/>
                  <a:gd name="connsiteX4" fmla="*/ 4265503 w 7080693"/>
                  <a:gd name="connsiteY4" fmla="*/ 861317 h 864378"/>
                  <a:gd name="connsiteX5" fmla="*/ 3053338 w 7080693"/>
                  <a:gd name="connsiteY5" fmla="*/ 864378 h 864378"/>
                  <a:gd name="connsiteX6" fmla="*/ 2707186 w 7080693"/>
                  <a:gd name="connsiteY6" fmla="*/ 500885 h 864378"/>
                  <a:gd name="connsiteX7" fmla="*/ 543532 w 7080693"/>
                  <a:gd name="connsiteY7" fmla="*/ 493503 h 864378"/>
                  <a:gd name="connsiteX8" fmla="*/ 480227 w 7080693"/>
                  <a:gd name="connsiteY8" fmla="*/ 32175 h 864378"/>
                  <a:gd name="connsiteX0" fmla="*/ 480227 w 7080693"/>
                  <a:gd name="connsiteY0" fmla="*/ 32175 h 864378"/>
                  <a:gd name="connsiteX1" fmla="*/ 7072601 w 7080693"/>
                  <a:gd name="connsiteY1" fmla="*/ 35571 h 864378"/>
                  <a:gd name="connsiteX2" fmla="*/ 7080693 w 7080693"/>
                  <a:gd name="connsiteY2" fmla="*/ 514717 h 864378"/>
                  <a:gd name="connsiteX3" fmla="*/ 4635525 w 7080693"/>
                  <a:gd name="connsiteY3" fmla="*/ 490441 h 864378"/>
                  <a:gd name="connsiteX4" fmla="*/ 4265503 w 7080693"/>
                  <a:gd name="connsiteY4" fmla="*/ 861317 h 864378"/>
                  <a:gd name="connsiteX5" fmla="*/ 3053338 w 7080693"/>
                  <a:gd name="connsiteY5" fmla="*/ 864378 h 864378"/>
                  <a:gd name="connsiteX6" fmla="*/ 2707186 w 7080693"/>
                  <a:gd name="connsiteY6" fmla="*/ 500885 h 864378"/>
                  <a:gd name="connsiteX7" fmla="*/ 543532 w 7080693"/>
                  <a:gd name="connsiteY7" fmla="*/ 493503 h 864378"/>
                  <a:gd name="connsiteX8" fmla="*/ 480227 w 7080693"/>
                  <a:gd name="connsiteY8" fmla="*/ 32175 h 864378"/>
                  <a:gd name="connsiteX0" fmla="*/ 0 w 6600466"/>
                  <a:gd name="connsiteY0" fmla="*/ 32175 h 864378"/>
                  <a:gd name="connsiteX1" fmla="*/ 6592374 w 6600466"/>
                  <a:gd name="connsiteY1" fmla="*/ 35571 h 864378"/>
                  <a:gd name="connsiteX2" fmla="*/ 6600466 w 6600466"/>
                  <a:gd name="connsiteY2" fmla="*/ 514717 h 864378"/>
                  <a:gd name="connsiteX3" fmla="*/ 4155298 w 6600466"/>
                  <a:gd name="connsiteY3" fmla="*/ 490441 h 864378"/>
                  <a:gd name="connsiteX4" fmla="*/ 3785276 w 6600466"/>
                  <a:gd name="connsiteY4" fmla="*/ 861317 h 864378"/>
                  <a:gd name="connsiteX5" fmla="*/ 2573111 w 6600466"/>
                  <a:gd name="connsiteY5" fmla="*/ 864378 h 864378"/>
                  <a:gd name="connsiteX6" fmla="*/ 2226959 w 6600466"/>
                  <a:gd name="connsiteY6" fmla="*/ 500885 h 864378"/>
                  <a:gd name="connsiteX7" fmla="*/ 63305 w 6600466"/>
                  <a:gd name="connsiteY7" fmla="*/ 493503 h 864378"/>
                  <a:gd name="connsiteX8" fmla="*/ 0 w 6600466"/>
                  <a:gd name="connsiteY8" fmla="*/ 32175 h 864378"/>
                  <a:gd name="connsiteX0" fmla="*/ 7840 w 6852146"/>
                  <a:gd name="connsiteY0" fmla="*/ 25637 h 892674"/>
                  <a:gd name="connsiteX1" fmla="*/ 6844054 w 6852146"/>
                  <a:gd name="connsiteY1" fmla="*/ 63867 h 892674"/>
                  <a:gd name="connsiteX2" fmla="*/ 6852146 w 6852146"/>
                  <a:gd name="connsiteY2" fmla="*/ 543013 h 892674"/>
                  <a:gd name="connsiteX3" fmla="*/ 4406978 w 6852146"/>
                  <a:gd name="connsiteY3" fmla="*/ 518737 h 892674"/>
                  <a:gd name="connsiteX4" fmla="*/ 4036956 w 6852146"/>
                  <a:gd name="connsiteY4" fmla="*/ 889613 h 892674"/>
                  <a:gd name="connsiteX5" fmla="*/ 2824791 w 6852146"/>
                  <a:gd name="connsiteY5" fmla="*/ 892674 h 892674"/>
                  <a:gd name="connsiteX6" fmla="*/ 2478639 w 6852146"/>
                  <a:gd name="connsiteY6" fmla="*/ 529181 h 892674"/>
                  <a:gd name="connsiteX7" fmla="*/ 314985 w 6852146"/>
                  <a:gd name="connsiteY7" fmla="*/ 521799 h 892674"/>
                  <a:gd name="connsiteX8" fmla="*/ 7840 w 6852146"/>
                  <a:gd name="connsiteY8" fmla="*/ 25637 h 892674"/>
                  <a:gd name="connsiteX0" fmla="*/ 7840 w 6852146"/>
                  <a:gd name="connsiteY0" fmla="*/ 8 h 867045"/>
                  <a:gd name="connsiteX1" fmla="*/ 6844054 w 6852146"/>
                  <a:gd name="connsiteY1" fmla="*/ 38238 h 867045"/>
                  <a:gd name="connsiteX2" fmla="*/ 6852146 w 6852146"/>
                  <a:gd name="connsiteY2" fmla="*/ 517384 h 867045"/>
                  <a:gd name="connsiteX3" fmla="*/ 4406978 w 6852146"/>
                  <a:gd name="connsiteY3" fmla="*/ 493108 h 867045"/>
                  <a:gd name="connsiteX4" fmla="*/ 4036956 w 6852146"/>
                  <a:gd name="connsiteY4" fmla="*/ 863984 h 867045"/>
                  <a:gd name="connsiteX5" fmla="*/ 2824791 w 6852146"/>
                  <a:gd name="connsiteY5" fmla="*/ 867045 h 867045"/>
                  <a:gd name="connsiteX6" fmla="*/ 2478639 w 6852146"/>
                  <a:gd name="connsiteY6" fmla="*/ 503552 h 867045"/>
                  <a:gd name="connsiteX7" fmla="*/ 314985 w 6852146"/>
                  <a:gd name="connsiteY7" fmla="*/ 496170 h 867045"/>
                  <a:gd name="connsiteX8" fmla="*/ 7840 w 6852146"/>
                  <a:gd name="connsiteY8" fmla="*/ 8 h 867045"/>
                  <a:gd name="connsiteX0" fmla="*/ 12026 w 6856332"/>
                  <a:gd name="connsiteY0" fmla="*/ 7 h 867044"/>
                  <a:gd name="connsiteX1" fmla="*/ 6848240 w 6856332"/>
                  <a:gd name="connsiteY1" fmla="*/ 38237 h 867044"/>
                  <a:gd name="connsiteX2" fmla="*/ 6856332 w 6856332"/>
                  <a:gd name="connsiteY2" fmla="*/ 517383 h 867044"/>
                  <a:gd name="connsiteX3" fmla="*/ 4411164 w 6856332"/>
                  <a:gd name="connsiteY3" fmla="*/ 493107 h 867044"/>
                  <a:gd name="connsiteX4" fmla="*/ 4041142 w 6856332"/>
                  <a:gd name="connsiteY4" fmla="*/ 863983 h 867044"/>
                  <a:gd name="connsiteX5" fmla="*/ 2828977 w 6856332"/>
                  <a:gd name="connsiteY5" fmla="*/ 867044 h 867044"/>
                  <a:gd name="connsiteX6" fmla="*/ 2482825 w 6856332"/>
                  <a:gd name="connsiteY6" fmla="*/ 503551 h 867044"/>
                  <a:gd name="connsiteX7" fmla="*/ 319171 w 6856332"/>
                  <a:gd name="connsiteY7" fmla="*/ 496169 h 867044"/>
                  <a:gd name="connsiteX8" fmla="*/ 12026 w 6856332"/>
                  <a:gd name="connsiteY8" fmla="*/ 7 h 867044"/>
                  <a:gd name="connsiteX0" fmla="*/ 0 w 6844306"/>
                  <a:gd name="connsiteY0" fmla="*/ 7 h 867044"/>
                  <a:gd name="connsiteX1" fmla="*/ 6836214 w 6844306"/>
                  <a:gd name="connsiteY1" fmla="*/ 38237 h 867044"/>
                  <a:gd name="connsiteX2" fmla="*/ 6844306 w 6844306"/>
                  <a:gd name="connsiteY2" fmla="*/ 517383 h 867044"/>
                  <a:gd name="connsiteX3" fmla="*/ 4399138 w 6844306"/>
                  <a:gd name="connsiteY3" fmla="*/ 493107 h 867044"/>
                  <a:gd name="connsiteX4" fmla="*/ 4029116 w 6844306"/>
                  <a:gd name="connsiteY4" fmla="*/ 863983 h 867044"/>
                  <a:gd name="connsiteX5" fmla="*/ 2816951 w 6844306"/>
                  <a:gd name="connsiteY5" fmla="*/ 867044 h 867044"/>
                  <a:gd name="connsiteX6" fmla="*/ 2470799 w 6844306"/>
                  <a:gd name="connsiteY6" fmla="*/ 503551 h 867044"/>
                  <a:gd name="connsiteX7" fmla="*/ 307145 w 6844306"/>
                  <a:gd name="connsiteY7" fmla="*/ 496169 h 867044"/>
                  <a:gd name="connsiteX8" fmla="*/ 0 w 6844306"/>
                  <a:gd name="connsiteY8" fmla="*/ 7 h 867044"/>
                  <a:gd name="connsiteX0" fmla="*/ 0 w 6844306"/>
                  <a:gd name="connsiteY0" fmla="*/ 6 h 867043"/>
                  <a:gd name="connsiteX1" fmla="*/ 6836214 w 6844306"/>
                  <a:gd name="connsiteY1" fmla="*/ 38236 h 867043"/>
                  <a:gd name="connsiteX2" fmla="*/ 6844306 w 6844306"/>
                  <a:gd name="connsiteY2" fmla="*/ 517382 h 867043"/>
                  <a:gd name="connsiteX3" fmla="*/ 4399138 w 6844306"/>
                  <a:gd name="connsiteY3" fmla="*/ 493106 h 867043"/>
                  <a:gd name="connsiteX4" fmla="*/ 4029116 w 6844306"/>
                  <a:gd name="connsiteY4" fmla="*/ 863982 h 867043"/>
                  <a:gd name="connsiteX5" fmla="*/ 2816951 w 6844306"/>
                  <a:gd name="connsiteY5" fmla="*/ 867043 h 867043"/>
                  <a:gd name="connsiteX6" fmla="*/ 2470799 w 6844306"/>
                  <a:gd name="connsiteY6" fmla="*/ 503550 h 867043"/>
                  <a:gd name="connsiteX7" fmla="*/ 106848 w 6844306"/>
                  <a:gd name="connsiteY7" fmla="*/ 513585 h 867043"/>
                  <a:gd name="connsiteX8" fmla="*/ 0 w 6844306"/>
                  <a:gd name="connsiteY8" fmla="*/ 6 h 867043"/>
                  <a:gd name="connsiteX0" fmla="*/ 2392521 w 6737467"/>
                  <a:gd name="connsiteY0" fmla="*/ 22730 h 828807"/>
                  <a:gd name="connsiteX1" fmla="*/ 6729375 w 6737467"/>
                  <a:gd name="connsiteY1" fmla="*/ 0 h 828807"/>
                  <a:gd name="connsiteX2" fmla="*/ 6737467 w 6737467"/>
                  <a:gd name="connsiteY2" fmla="*/ 479146 h 828807"/>
                  <a:gd name="connsiteX3" fmla="*/ 4292299 w 6737467"/>
                  <a:gd name="connsiteY3" fmla="*/ 454870 h 828807"/>
                  <a:gd name="connsiteX4" fmla="*/ 3922277 w 6737467"/>
                  <a:gd name="connsiteY4" fmla="*/ 825746 h 828807"/>
                  <a:gd name="connsiteX5" fmla="*/ 2710112 w 6737467"/>
                  <a:gd name="connsiteY5" fmla="*/ 828807 h 828807"/>
                  <a:gd name="connsiteX6" fmla="*/ 2363960 w 6737467"/>
                  <a:gd name="connsiteY6" fmla="*/ 465314 h 828807"/>
                  <a:gd name="connsiteX7" fmla="*/ 9 w 6737467"/>
                  <a:gd name="connsiteY7" fmla="*/ 475349 h 828807"/>
                  <a:gd name="connsiteX8" fmla="*/ 2392521 w 6737467"/>
                  <a:gd name="connsiteY8" fmla="*/ 22730 h 828807"/>
                  <a:gd name="connsiteX0" fmla="*/ 343513 w 4688459"/>
                  <a:gd name="connsiteY0" fmla="*/ 22730 h 828807"/>
                  <a:gd name="connsiteX1" fmla="*/ 4680367 w 4688459"/>
                  <a:gd name="connsiteY1" fmla="*/ 0 h 828807"/>
                  <a:gd name="connsiteX2" fmla="*/ 4688459 w 4688459"/>
                  <a:gd name="connsiteY2" fmla="*/ 479146 h 828807"/>
                  <a:gd name="connsiteX3" fmla="*/ 2243291 w 4688459"/>
                  <a:gd name="connsiteY3" fmla="*/ 454870 h 828807"/>
                  <a:gd name="connsiteX4" fmla="*/ 1873269 w 4688459"/>
                  <a:gd name="connsiteY4" fmla="*/ 825746 h 828807"/>
                  <a:gd name="connsiteX5" fmla="*/ 661104 w 4688459"/>
                  <a:gd name="connsiteY5" fmla="*/ 828807 h 828807"/>
                  <a:gd name="connsiteX6" fmla="*/ 314952 w 4688459"/>
                  <a:gd name="connsiteY6" fmla="*/ 465314 h 828807"/>
                  <a:gd name="connsiteX7" fmla="*/ 343513 w 4688459"/>
                  <a:gd name="connsiteY7" fmla="*/ 22730 h 828807"/>
                  <a:gd name="connsiteX0" fmla="*/ 343513 w 4680367"/>
                  <a:gd name="connsiteY0" fmla="*/ 22730 h 828807"/>
                  <a:gd name="connsiteX1" fmla="*/ 4680367 w 4680367"/>
                  <a:gd name="connsiteY1" fmla="*/ 0 h 828807"/>
                  <a:gd name="connsiteX2" fmla="*/ 3512801 w 4680367"/>
                  <a:gd name="connsiteY2" fmla="*/ 461729 h 828807"/>
                  <a:gd name="connsiteX3" fmla="*/ 2243291 w 4680367"/>
                  <a:gd name="connsiteY3" fmla="*/ 454870 h 828807"/>
                  <a:gd name="connsiteX4" fmla="*/ 1873269 w 4680367"/>
                  <a:gd name="connsiteY4" fmla="*/ 825746 h 828807"/>
                  <a:gd name="connsiteX5" fmla="*/ 661104 w 4680367"/>
                  <a:gd name="connsiteY5" fmla="*/ 828807 h 828807"/>
                  <a:gd name="connsiteX6" fmla="*/ 314952 w 4680367"/>
                  <a:gd name="connsiteY6" fmla="*/ 465314 h 828807"/>
                  <a:gd name="connsiteX7" fmla="*/ 343513 w 4680367"/>
                  <a:gd name="connsiteY7" fmla="*/ 22730 h 828807"/>
                  <a:gd name="connsiteX0" fmla="*/ 343513 w 3539545"/>
                  <a:gd name="connsiteY0" fmla="*/ 0 h 806077"/>
                  <a:gd name="connsiteX1" fmla="*/ 3539545 w 3539545"/>
                  <a:gd name="connsiteY1" fmla="*/ 38230 h 806077"/>
                  <a:gd name="connsiteX2" fmla="*/ 3512801 w 3539545"/>
                  <a:gd name="connsiteY2" fmla="*/ 438999 h 806077"/>
                  <a:gd name="connsiteX3" fmla="*/ 2243291 w 3539545"/>
                  <a:gd name="connsiteY3" fmla="*/ 432140 h 806077"/>
                  <a:gd name="connsiteX4" fmla="*/ 1873269 w 3539545"/>
                  <a:gd name="connsiteY4" fmla="*/ 803016 h 806077"/>
                  <a:gd name="connsiteX5" fmla="*/ 661104 w 3539545"/>
                  <a:gd name="connsiteY5" fmla="*/ 806077 h 806077"/>
                  <a:gd name="connsiteX6" fmla="*/ 314952 w 3539545"/>
                  <a:gd name="connsiteY6" fmla="*/ 442584 h 806077"/>
                  <a:gd name="connsiteX7" fmla="*/ 343513 w 3539545"/>
                  <a:gd name="connsiteY7" fmla="*/ 0 h 806077"/>
                  <a:gd name="connsiteX0" fmla="*/ 343513 w 3556962"/>
                  <a:gd name="connsiteY0" fmla="*/ 0 h 806077"/>
                  <a:gd name="connsiteX1" fmla="*/ 3556962 w 3556962"/>
                  <a:gd name="connsiteY1" fmla="*/ 12105 h 806077"/>
                  <a:gd name="connsiteX2" fmla="*/ 3512801 w 3556962"/>
                  <a:gd name="connsiteY2" fmla="*/ 438999 h 806077"/>
                  <a:gd name="connsiteX3" fmla="*/ 2243291 w 3556962"/>
                  <a:gd name="connsiteY3" fmla="*/ 432140 h 806077"/>
                  <a:gd name="connsiteX4" fmla="*/ 1873269 w 3556962"/>
                  <a:gd name="connsiteY4" fmla="*/ 803016 h 806077"/>
                  <a:gd name="connsiteX5" fmla="*/ 661104 w 3556962"/>
                  <a:gd name="connsiteY5" fmla="*/ 806077 h 806077"/>
                  <a:gd name="connsiteX6" fmla="*/ 314952 w 3556962"/>
                  <a:gd name="connsiteY6" fmla="*/ 442584 h 806077"/>
                  <a:gd name="connsiteX7" fmla="*/ 343513 w 3556962"/>
                  <a:gd name="connsiteY7" fmla="*/ 0 h 806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6962" h="806077">
                    <a:moveTo>
                      <a:pt x="343513" y="0"/>
                    </a:moveTo>
                    <a:cubicBezTo>
                      <a:pt x="1431691" y="28180"/>
                      <a:pt x="1375688" y="16368"/>
                      <a:pt x="3556962" y="12105"/>
                    </a:cubicBezTo>
                    <a:lnTo>
                      <a:pt x="3512801" y="438999"/>
                    </a:lnTo>
                    <a:lnTo>
                      <a:pt x="2243291" y="432140"/>
                    </a:lnTo>
                    <a:lnTo>
                      <a:pt x="1873269" y="803016"/>
                    </a:lnTo>
                    <a:lnTo>
                      <a:pt x="661104" y="806077"/>
                    </a:lnTo>
                    <a:lnTo>
                      <a:pt x="314952" y="442584"/>
                    </a:lnTo>
                    <a:cubicBezTo>
                      <a:pt x="262020" y="308238"/>
                      <a:pt x="-384056" y="77552"/>
                      <a:pt x="3435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8" name="Прямоугольник 27"/>
              <p:cNvSpPr/>
              <p:nvPr/>
            </p:nvSpPr>
            <p:spPr>
              <a:xfrm>
                <a:off x="4667794" y="1"/>
                <a:ext cx="522515" cy="685799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19" name="Прямоугольник 7">
            <a:extLst>
              <a:ext uri="{FF2B5EF4-FFF2-40B4-BE49-F238E27FC236}">
                <a16:creationId xmlns:a16="http://schemas.microsoft.com/office/drawing/2014/main" id="{430A41BE-B430-E14A-B9A9-56699DD79BCE}"/>
              </a:ext>
            </a:extLst>
          </p:cNvPr>
          <p:cNvSpPr/>
          <p:nvPr userDrawn="1"/>
        </p:nvSpPr>
        <p:spPr>
          <a:xfrm>
            <a:off x="4947535" y="2957"/>
            <a:ext cx="6098107" cy="6855043"/>
          </a:xfrm>
          <a:custGeom>
            <a:avLst/>
            <a:gdLst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7858 w 5717858"/>
              <a:gd name="connsiteY2" fmla="*/ 6855043 h 6855043"/>
              <a:gd name="connsiteX3" fmla="*/ 0 w 5717858"/>
              <a:gd name="connsiteY3" fmla="*/ 6855043 h 6855043"/>
              <a:gd name="connsiteX4" fmla="*/ 0 w 5717858"/>
              <a:gd name="connsiteY4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7858 w 5717858"/>
              <a:gd name="connsiteY3" fmla="*/ 6855043 h 6855043"/>
              <a:gd name="connsiteX4" fmla="*/ 0 w 5717858"/>
              <a:gd name="connsiteY4" fmla="*/ 6855043 h 6855043"/>
              <a:gd name="connsiteX5" fmla="*/ 0 w 5717858"/>
              <a:gd name="connsiteY5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7858 w 5717858"/>
              <a:gd name="connsiteY4" fmla="*/ 6855043 h 6855043"/>
              <a:gd name="connsiteX5" fmla="*/ 0 w 5717858"/>
              <a:gd name="connsiteY5" fmla="*/ 6855043 h 6855043"/>
              <a:gd name="connsiteX6" fmla="*/ 0 w 5717858"/>
              <a:gd name="connsiteY6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3067 w 5717858"/>
              <a:gd name="connsiteY4" fmla="*/ 3352181 h 6855043"/>
              <a:gd name="connsiteX5" fmla="*/ 5717858 w 5717858"/>
              <a:gd name="connsiteY5" fmla="*/ 6855043 h 6855043"/>
              <a:gd name="connsiteX6" fmla="*/ 0 w 5717858"/>
              <a:gd name="connsiteY6" fmla="*/ 6855043 h 6855043"/>
              <a:gd name="connsiteX7" fmla="*/ 0 w 5717858"/>
              <a:gd name="connsiteY7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0491 w 5717858"/>
              <a:gd name="connsiteY4" fmla="*/ 3027633 h 6855043"/>
              <a:gd name="connsiteX5" fmla="*/ 5713067 w 5717858"/>
              <a:gd name="connsiteY5" fmla="*/ 3352181 h 6855043"/>
              <a:gd name="connsiteX6" fmla="*/ 5717858 w 5717858"/>
              <a:gd name="connsiteY6" fmla="*/ 6855043 h 6855043"/>
              <a:gd name="connsiteX7" fmla="*/ 0 w 5717858"/>
              <a:gd name="connsiteY7" fmla="*/ 6855043 h 6855043"/>
              <a:gd name="connsiteX8" fmla="*/ 0 w 5717858"/>
              <a:gd name="connsiteY8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0491 w 5717858"/>
              <a:gd name="connsiteY4" fmla="*/ 3027633 h 6855043"/>
              <a:gd name="connsiteX5" fmla="*/ 5713067 w 5717858"/>
              <a:gd name="connsiteY5" fmla="*/ 3352181 h 6855043"/>
              <a:gd name="connsiteX6" fmla="*/ 5717858 w 5717858"/>
              <a:gd name="connsiteY6" fmla="*/ 6855043 h 6855043"/>
              <a:gd name="connsiteX7" fmla="*/ 0 w 5717858"/>
              <a:gd name="connsiteY7" fmla="*/ 6855043 h 6855043"/>
              <a:gd name="connsiteX8" fmla="*/ 0 w 5717858"/>
              <a:gd name="connsiteY8" fmla="*/ 0 h 6855043"/>
              <a:gd name="connsiteX0" fmla="*/ 0 w 5717858"/>
              <a:gd name="connsiteY0" fmla="*/ 0 h 6855043"/>
              <a:gd name="connsiteX1" fmla="*/ 5717858 w 5717858"/>
              <a:gd name="connsiteY1" fmla="*/ 0 h 6855043"/>
              <a:gd name="connsiteX2" fmla="*/ 5714999 w 5717858"/>
              <a:gd name="connsiteY2" fmla="*/ 1391289 h 6855043"/>
              <a:gd name="connsiteX3" fmla="*/ 5713067 w 5717858"/>
              <a:gd name="connsiteY3" fmla="*/ 1989596 h 6855043"/>
              <a:gd name="connsiteX4" fmla="*/ 5710491 w 5717858"/>
              <a:gd name="connsiteY4" fmla="*/ 3027633 h 6855043"/>
              <a:gd name="connsiteX5" fmla="*/ 5713067 w 5717858"/>
              <a:gd name="connsiteY5" fmla="*/ 3352181 h 6855043"/>
              <a:gd name="connsiteX6" fmla="*/ 5717858 w 5717858"/>
              <a:gd name="connsiteY6" fmla="*/ 6855043 h 6855043"/>
              <a:gd name="connsiteX7" fmla="*/ 0 w 5717858"/>
              <a:gd name="connsiteY7" fmla="*/ 6855043 h 6855043"/>
              <a:gd name="connsiteX8" fmla="*/ 0 w 5717858"/>
              <a:gd name="connsiteY8" fmla="*/ 0 h 6855043"/>
              <a:gd name="connsiteX0" fmla="*/ 0 w 6017009"/>
              <a:gd name="connsiteY0" fmla="*/ 0 h 6855043"/>
              <a:gd name="connsiteX1" fmla="*/ 5717858 w 6017009"/>
              <a:gd name="connsiteY1" fmla="*/ 0 h 6855043"/>
              <a:gd name="connsiteX2" fmla="*/ 5714999 w 6017009"/>
              <a:gd name="connsiteY2" fmla="*/ 1391289 h 6855043"/>
              <a:gd name="connsiteX3" fmla="*/ 6017009 w 6017009"/>
              <a:gd name="connsiteY3" fmla="*/ 1999900 h 6855043"/>
              <a:gd name="connsiteX4" fmla="*/ 5710491 w 6017009"/>
              <a:gd name="connsiteY4" fmla="*/ 3027633 h 6855043"/>
              <a:gd name="connsiteX5" fmla="*/ 5713067 w 6017009"/>
              <a:gd name="connsiteY5" fmla="*/ 3352181 h 6855043"/>
              <a:gd name="connsiteX6" fmla="*/ 5717858 w 6017009"/>
              <a:gd name="connsiteY6" fmla="*/ 6855043 h 6855043"/>
              <a:gd name="connsiteX7" fmla="*/ 0 w 6017009"/>
              <a:gd name="connsiteY7" fmla="*/ 6855043 h 6855043"/>
              <a:gd name="connsiteX8" fmla="*/ 0 w 6017009"/>
              <a:gd name="connsiteY8" fmla="*/ 0 h 6855043"/>
              <a:gd name="connsiteX0" fmla="*/ 0 w 6017009"/>
              <a:gd name="connsiteY0" fmla="*/ 0 h 6855043"/>
              <a:gd name="connsiteX1" fmla="*/ 5717858 w 6017009"/>
              <a:gd name="connsiteY1" fmla="*/ 0 h 6855043"/>
              <a:gd name="connsiteX2" fmla="*/ 5714999 w 6017009"/>
              <a:gd name="connsiteY2" fmla="*/ 1391289 h 6855043"/>
              <a:gd name="connsiteX3" fmla="*/ 6017009 w 6017009"/>
              <a:gd name="connsiteY3" fmla="*/ 1999900 h 6855043"/>
              <a:gd name="connsiteX4" fmla="*/ 5710491 w 6017009"/>
              <a:gd name="connsiteY4" fmla="*/ 3027633 h 6855043"/>
              <a:gd name="connsiteX5" fmla="*/ 5713067 w 6017009"/>
              <a:gd name="connsiteY5" fmla="*/ 3352181 h 6855043"/>
              <a:gd name="connsiteX6" fmla="*/ 5717858 w 6017009"/>
              <a:gd name="connsiteY6" fmla="*/ 6855043 h 6855043"/>
              <a:gd name="connsiteX7" fmla="*/ 0 w 6017009"/>
              <a:gd name="connsiteY7" fmla="*/ 6855043 h 6855043"/>
              <a:gd name="connsiteX8" fmla="*/ 0 w 6017009"/>
              <a:gd name="connsiteY8" fmla="*/ 0 h 6855043"/>
              <a:gd name="connsiteX0" fmla="*/ 0 w 6053070"/>
              <a:gd name="connsiteY0" fmla="*/ 0 h 6855043"/>
              <a:gd name="connsiteX1" fmla="*/ 5717858 w 6053070"/>
              <a:gd name="connsiteY1" fmla="*/ 0 h 6855043"/>
              <a:gd name="connsiteX2" fmla="*/ 5714999 w 6053070"/>
              <a:gd name="connsiteY2" fmla="*/ 1391289 h 6855043"/>
              <a:gd name="connsiteX3" fmla="*/ 6053070 w 6053070"/>
              <a:gd name="connsiteY3" fmla="*/ 1971567 h 6855043"/>
              <a:gd name="connsiteX4" fmla="*/ 5710491 w 6053070"/>
              <a:gd name="connsiteY4" fmla="*/ 3027633 h 6855043"/>
              <a:gd name="connsiteX5" fmla="*/ 5713067 w 6053070"/>
              <a:gd name="connsiteY5" fmla="*/ 3352181 h 6855043"/>
              <a:gd name="connsiteX6" fmla="*/ 5717858 w 6053070"/>
              <a:gd name="connsiteY6" fmla="*/ 6855043 h 6855043"/>
              <a:gd name="connsiteX7" fmla="*/ 0 w 6053070"/>
              <a:gd name="connsiteY7" fmla="*/ 6855043 h 6855043"/>
              <a:gd name="connsiteX8" fmla="*/ 0 w 6053070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5710491 w 6107161"/>
              <a:gd name="connsiteY4" fmla="*/ 3027633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27029"/>
              <a:gd name="connsiteY0" fmla="*/ 0 h 6855043"/>
              <a:gd name="connsiteX1" fmla="*/ 5717858 w 6127029"/>
              <a:gd name="connsiteY1" fmla="*/ 0 h 6855043"/>
              <a:gd name="connsiteX2" fmla="*/ 5714999 w 6127029"/>
              <a:gd name="connsiteY2" fmla="*/ 1391289 h 6855043"/>
              <a:gd name="connsiteX3" fmla="*/ 6107161 w 6127029"/>
              <a:gd name="connsiteY3" fmla="*/ 1773233 h 6855043"/>
              <a:gd name="connsiteX4" fmla="*/ 6094282 w 6127029"/>
              <a:gd name="connsiteY4" fmla="*/ 2978693 h 6855043"/>
              <a:gd name="connsiteX5" fmla="*/ 5713067 w 6127029"/>
              <a:gd name="connsiteY5" fmla="*/ 3352181 h 6855043"/>
              <a:gd name="connsiteX6" fmla="*/ 5717858 w 6127029"/>
              <a:gd name="connsiteY6" fmla="*/ 6855043 h 6855043"/>
              <a:gd name="connsiteX7" fmla="*/ 0 w 6127029"/>
              <a:gd name="connsiteY7" fmla="*/ 6855043 h 6855043"/>
              <a:gd name="connsiteX8" fmla="*/ 0 w 6127029"/>
              <a:gd name="connsiteY8" fmla="*/ 0 h 6855043"/>
              <a:gd name="connsiteX0" fmla="*/ 0 w 6127029"/>
              <a:gd name="connsiteY0" fmla="*/ 0 h 6855043"/>
              <a:gd name="connsiteX1" fmla="*/ 5717858 w 6127029"/>
              <a:gd name="connsiteY1" fmla="*/ 0 h 6855043"/>
              <a:gd name="connsiteX2" fmla="*/ 5714999 w 6127029"/>
              <a:gd name="connsiteY2" fmla="*/ 1391289 h 6855043"/>
              <a:gd name="connsiteX3" fmla="*/ 6107161 w 6127029"/>
              <a:gd name="connsiteY3" fmla="*/ 1773233 h 6855043"/>
              <a:gd name="connsiteX4" fmla="*/ 6094282 w 6127029"/>
              <a:gd name="connsiteY4" fmla="*/ 2978693 h 6855043"/>
              <a:gd name="connsiteX5" fmla="*/ 5713067 w 6127029"/>
              <a:gd name="connsiteY5" fmla="*/ 3352181 h 6855043"/>
              <a:gd name="connsiteX6" fmla="*/ 5717858 w 6127029"/>
              <a:gd name="connsiteY6" fmla="*/ 6855043 h 6855043"/>
              <a:gd name="connsiteX7" fmla="*/ 0 w 6127029"/>
              <a:gd name="connsiteY7" fmla="*/ 6855043 h 6855043"/>
              <a:gd name="connsiteX8" fmla="*/ 0 w 6127029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5906250 w 6107161"/>
              <a:gd name="connsiteY4" fmla="*/ 2914299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12069"/>
              <a:gd name="connsiteY0" fmla="*/ 0 h 6855043"/>
              <a:gd name="connsiteX1" fmla="*/ 5717858 w 6112069"/>
              <a:gd name="connsiteY1" fmla="*/ 0 h 6855043"/>
              <a:gd name="connsiteX2" fmla="*/ 5714999 w 6112069"/>
              <a:gd name="connsiteY2" fmla="*/ 1391289 h 6855043"/>
              <a:gd name="connsiteX3" fmla="*/ 6107161 w 6112069"/>
              <a:gd name="connsiteY3" fmla="*/ 1773233 h 6855043"/>
              <a:gd name="connsiteX4" fmla="*/ 5906250 w 6112069"/>
              <a:gd name="connsiteY4" fmla="*/ 2914299 h 6855043"/>
              <a:gd name="connsiteX5" fmla="*/ 5713067 w 6112069"/>
              <a:gd name="connsiteY5" fmla="*/ 3352181 h 6855043"/>
              <a:gd name="connsiteX6" fmla="*/ 5717858 w 6112069"/>
              <a:gd name="connsiteY6" fmla="*/ 6855043 h 6855043"/>
              <a:gd name="connsiteX7" fmla="*/ 0 w 6112069"/>
              <a:gd name="connsiteY7" fmla="*/ 6855043 h 6855043"/>
              <a:gd name="connsiteX8" fmla="*/ 0 w 6112069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5906250 w 6107161"/>
              <a:gd name="connsiteY4" fmla="*/ 2914299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6096858 w 6107161"/>
              <a:gd name="connsiteY4" fmla="*/ 2970966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6096858 w 6107161"/>
              <a:gd name="connsiteY4" fmla="*/ 2970966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07161"/>
              <a:gd name="connsiteY0" fmla="*/ 0 h 6855043"/>
              <a:gd name="connsiteX1" fmla="*/ 5717858 w 6107161"/>
              <a:gd name="connsiteY1" fmla="*/ 0 h 6855043"/>
              <a:gd name="connsiteX2" fmla="*/ 5714999 w 6107161"/>
              <a:gd name="connsiteY2" fmla="*/ 1391289 h 6855043"/>
              <a:gd name="connsiteX3" fmla="*/ 6107161 w 6107161"/>
              <a:gd name="connsiteY3" fmla="*/ 1773233 h 6855043"/>
              <a:gd name="connsiteX4" fmla="*/ 6096858 w 6107161"/>
              <a:gd name="connsiteY4" fmla="*/ 2970966 h 6855043"/>
              <a:gd name="connsiteX5" fmla="*/ 5713067 w 6107161"/>
              <a:gd name="connsiteY5" fmla="*/ 3352181 h 6855043"/>
              <a:gd name="connsiteX6" fmla="*/ 5717858 w 6107161"/>
              <a:gd name="connsiteY6" fmla="*/ 6855043 h 6855043"/>
              <a:gd name="connsiteX7" fmla="*/ 0 w 6107161"/>
              <a:gd name="connsiteY7" fmla="*/ 6855043 h 6855043"/>
              <a:gd name="connsiteX8" fmla="*/ 0 w 6107161"/>
              <a:gd name="connsiteY8" fmla="*/ 0 h 6855043"/>
              <a:gd name="connsiteX0" fmla="*/ 0 w 6110968"/>
              <a:gd name="connsiteY0" fmla="*/ 0 h 6855043"/>
              <a:gd name="connsiteX1" fmla="*/ 5717858 w 6110968"/>
              <a:gd name="connsiteY1" fmla="*/ 0 h 6855043"/>
              <a:gd name="connsiteX2" fmla="*/ 5714999 w 6110968"/>
              <a:gd name="connsiteY2" fmla="*/ 1391289 h 6855043"/>
              <a:gd name="connsiteX3" fmla="*/ 6034733 w 6110968"/>
              <a:gd name="connsiteY3" fmla="*/ 1812464 h 6855043"/>
              <a:gd name="connsiteX4" fmla="*/ 6096858 w 6110968"/>
              <a:gd name="connsiteY4" fmla="*/ 2970966 h 6855043"/>
              <a:gd name="connsiteX5" fmla="*/ 5713067 w 6110968"/>
              <a:gd name="connsiteY5" fmla="*/ 3352181 h 6855043"/>
              <a:gd name="connsiteX6" fmla="*/ 5717858 w 6110968"/>
              <a:gd name="connsiteY6" fmla="*/ 6855043 h 6855043"/>
              <a:gd name="connsiteX7" fmla="*/ 0 w 6110968"/>
              <a:gd name="connsiteY7" fmla="*/ 6855043 h 6855043"/>
              <a:gd name="connsiteX8" fmla="*/ 0 w 6110968"/>
              <a:gd name="connsiteY8" fmla="*/ 0 h 6855043"/>
              <a:gd name="connsiteX0" fmla="*/ 0 w 6125537"/>
              <a:gd name="connsiteY0" fmla="*/ 0 h 6855043"/>
              <a:gd name="connsiteX1" fmla="*/ 5717858 w 6125537"/>
              <a:gd name="connsiteY1" fmla="*/ 0 h 6855043"/>
              <a:gd name="connsiteX2" fmla="*/ 5714999 w 6125537"/>
              <a:gd name="connsiteY2" fmla="*/ 1391289 h 6855043"/>
              <a:gd name="connsiteX3" fmla="*/ 6098107 w 6125537"/>
              <a:gd name="connsiteY3" fmla="*/ 1770215 h 6855043"/>
              <a:gd name="connsiteX4" fmla="*/ 6096858 w 6125537"/>
              <a:gd name="connsiteY4" fmla="*/ 2970966 h 6855043"/>
              <a:gd name="connsiteX5" fmla="*/ 5713067 w 6125537"/>
              <a:gd name="connsiteY5" fmla="*/ 3352181 h 6855043"/>
              <a:gd name="connsiteX6" fmla="*/ 5717858 w 6125537"/>
              <a:gd name="connsiteY6" fmla="*/ 6855043 h 6855043"/>
              <a:gd name="connsiteX7" fmla="*/ 0 w 6125537"/>
              <a:gd name="connsiteY7" fmla="*/ 6855043 h 6855043"/>
              <a:gd name="connsiteX8" fmla="*/ 0 w 612553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5936913 w 6098107"/>
              <a:gd name="connsiteY4" fmla="*/ 2983038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119069"/>
              <a:gd name="connsiteY0" fmla="*/ 0 h 6855043"/>
              <a:gd name="connsiteX1" fmla="*/ 5717858 w 6119069"/>
              <a:gd name="connsiteY1" fmla="*/ 0 h 6855043"/>
              <a:gd name="connsiteX2" fmla="*/ 5714999 w 6119069"/>
              <a:gd name="connsiteY2" fmla="*/ 1391289 h 6855043"/>
              <a:gd name="connsiteX3" fmla="*/ 6098107 w 6119069"/>
              <a:gd name="connsiteY3" fmla="*/ 1770215 h 6855043"/>
              <a:gd name="connsiteX4" fmla="*/ 6087804 w 6119069"/>
              <a:gd name="connsiteY4" fmla="*/ 2964931 h 6855043"/>
              <a:gd name="connsiteX5" fmla="*/ 5713067 w 6119069"/>
              <a:gd name="connsiteY5" fmla="*/ 3352181 h 6855043"/>
              <a:gd name="connsiteX6" fmla="*/ 5717858 w 6119069"/>
              <a:gd name="connsiteY6" fmla="*/ 6855043 h 6855043"/>
              <a:gd name="connsiteX7" fmla="*/ 0 w 6119069"/>
              <a:gd name="connsiteY7" fmla="*/ 6855043 h 6855043"/>
              <a:gd name="connsiteX8" fmla="*/ 0 w 6119069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64931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  <a:gd name="connsiteX0" fmla="*/ 0 w 6098107"/>
              <a:gd name="connsiteY0" fmla="*/ 0 h 6855043"/>
              <a:gd name="connsiteX1" fmla="*/ 5717858 w 6098107"/>
              <a:gd name="connsiteY1" fmla="*/ 0 h 6855043"/>
              <a:gd name="connsiteX2" fmla="*/ 5714999 w 6098107"/>
              <a:gd name="connsiteY2" fmla="*/ 1391289 h 6855043"/>
              <a:gd name="connsiteX3" fmla="*/ 6098107 w 6098107"/>
              <a:gd name="connsiteY3" fmla="*/ 1770215 h 6855043"/>
              <a:gd name="connsiteX4" fmla="*/ 6087804 w 6098107"/>
              <a:gd name="connsiteY4" fmla="*/ 2973985 h 6855043"/>
              <a:gd name="connsiteX5" fmla="*/ 5713067 w 6098107"/>
              <a:gd name="connsiteY5" fmla="*/ 3352181 h 6855043"/>
              <a:gd name="connsiteX6" fmla="*/ 5717858 w 6098107"/>
              <a:gd name="connsiteY6" fmla="*/ 6855043 h 6855043"/>
              <a:gd name="connsiteX7" fmla="*/ 0 w 6098107"/>
              <a:gd name="connsiteY7" fmla="*/ 6855043 h 6855043"/>
              <a:gd name="connsiteX8" fmla="*/ 0 w 6098107"/>
              <a:gd name="connsiteY8" fmla="*/ 0 h 6855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8107" h="6855043">
                <a:moveTo>
                  <a:pt x="0" y="0"/>
                </a:moveTo>
                <a:lnTo>
                  <a:pt x="5717858" y="0"/>
                </a:lnTo>
                <a:lnTo>
                  <a:pt x="5714999" y="1391289"/>
                </a:lnTo>
                <a:lnTo>
                  <a:pt x="6098107" y="1770215"/>
                </a:lnTo>
                <a:cubicBezTo>
                  <a:pt x="6097356" y="2042939"/>
                  <a:pt x="6094320" y="2706021"/>
                  <a:pt x="6087804" y="2973985"/>
                </a:cubicBezTo>
                <a:cubicBezTo>
                  <a:pt x="6087512" y="2985992"/>
                  <a:pt x="5904491" y="3165556"/>
                  <a:pt x="5713067" y="3352181"/>
                </a:cubicBezTo>
                <a:cubicBezTo>
                  <a:pt x="5711481" y="3806821"/>
                  <a:pt x="5716261" y="5687422"/>
                  <a:pt x="5717858" y="6855043"/>
                </a:cubicBezTo>
                <a:lnTo>
                  <a:pt x="0" y="68550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5598889" y="6146447"/>
            <a:ext cx="3428060" cy="359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en-US" sz="2000" kern="7500" dirty="0" err="1">
                <a:solidFill>
                  <a:schemeClr val="accent3"/>
                </a:solidFill>
                <a:latin typeface="+mj-lt"/>
              </a:rPr>
              <a:t>idea.rostec.academy</a:t>
            </a:r>
            <a:endParaRPr lang="ru-RU" sz="20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5586936" y="1691627"/>
            <a:ext cx="3428060" cy="348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ru-RU" sz="2200" kern="7500" spc="-150" dirty="0">
                <a:latin typeface="+mj-lt"/>
              </a:rPr>
              <a:t>Спасибо за внимание</a:t>
            </a:r>
            <a:endParaRPr lang="ru-RU" sz="2200" spc="-150" dirty="0">
              <a:latin typeface="+mj-lt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563032" y="2719513"/>
            <a:ext cx="5291814" cy="682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4480"/>
              </a:lnSpc>
            </a:pPr>
            <a:r>
              <a:rPr lang="ru-RU" sz="4800" b="1" kern="7500" spc="-400" dirty="0" err="1">
                <a:latin typeface="+mj-lt"/>
              </a:rPr>
              <a:t>Ростех</a:t>
            </a:r>
            <a:endParaRPr lang="ru-RU" sz="4800" b="1" kern="7500" spc="-400" dirty="0"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22EC09-D0DA-654A-8D97-C062370644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8889" y="3516818"/>
            <a:ext cx="4515267" cy="16828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СОЗДАВАЯ БУДУЩЕЕ</a:t>
            </a:r>
          </a:p>
        </p:txBody>
      </p:sp>
    </p:spTree>
    <p:extLst>
      <p:ext uri="{BB962C8B-B14F-4D97-AF65-F5344CB8AC3E}">
        <p14:creationId xmlns:p14="http://schemas.microsoft.com/office/powerpoint/2010/main" val="13929271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1" name="Shape 21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2" name="Shape 22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4329617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82714" y="545953"/>
            <a:ext cx="7400577" cy="5766093"/>
          </a:xfrm>
          <a:prstGeom prst="rect">
            <a:avLst/>
          </a:prstGeom>
        </p:spPr>
      </p:pic>
      <p:grpSp>
        <p:nvGrpSpPr>
          <p:cNvPr id="4" name="Группа 3"/>
          <p:cNvGrpSpPr/>
          <p:nvPr userDrawn="1"/>
        </p:nvGrpSpPr>
        <p:grpSpPr>
          <a:xfrm>
            <a:off x="9057" y="0"/>
            <a:ext cx="12182943" cy="6868473"/>
            <a:chOff x="9057" y="0"/>
            <a:chExt cx="12182943" cy="6868473"/>
          </a:xfrm>
          <a:solidFill>
            <a:schemeClr val="bg1"/>
          </a:solidFill>
        </p:grpSpPr>
        <p:sp>
          <p:nvSpPr>
            <p:cNvPr id="5" name="Прямоугольник 7"/>
            <p:cNvSpPr/>
            <p:nvPr/>
          </p:nvSpPr>
          <p:spPr>
            <a:xfrm>
              <a:off x="9057" y="1478"/>
              <a:ext cx="6098107" cy="6855043"/>
            </a:xfrm>
            <a:custGeom>
              <a:avLst/>
              <a:gdLst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7858 w 5717858"/>
                <a:gd name="connsiteY2" fmla="*/ 6855043 h 6855043"/>
                <a:gd name="connsiteX3" fmla="*/ 0 w 5717858"/>
                <a:gd name="connsiteY3" fmla="*/ 6855043 h 6855043"/>
                <a:gd name="connsiteX4" fmla="*/ 0 w 5717858"/>
                <a:gd name="connsiteY4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7858 w 5717858"/>
                <a:gd name="connsiteY3" fmla="*/ 6855043 h 6855043"/>
                <a:gd name="connsiteX4" fmla="*/ 0 w 5717858"/>
                <a:gd name="connsiteY4" fmla="*/ 6855043 h 6855043"/>
                <a:gd name="connsiteX5" fmla="*/ 0 w 5717858"/>
                <a:gd name="connsiteY5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7858 w 5717858"/>
                <a:gd name="connsiteY4" fmla="*/ 6855043 h 6855043"/>
                <a:gd name="connsiteX5" fmla="*/ 0 w 5717858"/>
                <a:gd name="connsiteY5" fmla="*/ 6855043 h 6855043"/>
                <a:gd name="connsiteX6" fmla="*/ 0 w 5717858"/>
                <a:gd name="connsiteY6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3067 w 5717858"/>
                <a:gd name="connsiteY4" fmla="*/ 3352181 h 6855043"/>
                <a:gd name="connsiteX5" fmla="*/ 5717858 w 5717858"/>
                <a:gd name="connsiteY5" fmla="*/ 6855043 h 6855043"/>
                <a:gd name="connsiteX6" fmla="*/ 0 w 5717858"/>
                <a:gd name="connsiteY6" fmla="*/ 6855043 h 6855043"/>
                <a:gd name="connsiteX7" fmla="*/ 0 w 5717858"/>
                <a:gd name="connsiteY7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53070"/>
                <a:gd name="connsiteY0" fmla="*/ 0 h 6855043"/>
                <a:gd name="connsiteX1" fmla="*/ 5717858 w 6053070"/>
                <a:gd name="connsiteY1" fmla="*/ 0 h 6855043"/>
                <a:gd name="connsiteX2" fmla="*/ 5714999 w 6053070"/>
                <a:gd name="connsiteY2" fmla="*/ 1391289 h 6855043"/>
                <a:gd name="connsiteX3" fmla="*/ 6053070 w 6053070"/>
                <a:gd name="connsiteY3" fmla="*/ 1971567 h 6855043"/>
                <a:gd name="connsiteX4" fmla="*/ 5710491 w 6053070"/>
                <a:gd name="connsiteY4" fmla="*/ 3027633 h 6855043"/>
                <a:gd name="connsiteX5" fmla="*/ 5713067 w 6053070"/>
                <a:gd name="connsiteY5" fmla="*/ 3352181 h 6855043"/>
                <a:gd name="connsiteX6" fmla="*/ 5717858 w 6053070"/>
                <a:gd name="connsiteY6" fmla="*/ 6855043 h 6855043"/>
                <a:gd name="connsiteX7" fmla="*/ 0 w 6053070"/>
                <a:gd name="connsiteY7" fmla="*/ 6855043 h 6855043"/>
                <a:gd name="connsiteX8" fmla="*/ 0 w 6053070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710491 w 6107161"/>
                <a:gd name="connsiteY4" fmla="*/ 3027633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2069"/>
                <a:gd name="connsiteY0" fmla="*/ 0 h 6855043"/>
                <a:gd name="connsiteX1" fmla="*/ 5717858 w 6112069"/>
                <a:gd name="connsiteY1" fmla="*/ 0 h 6855043"/>
                <a:gd name="connsiteX2" fmla="*/ 5714999 w 6112069"/>
                <a:gd name="connsiteY2" fmla="*/ 1391289 h 6855043"/>
                <a:gd name="connsiteX3" fmla="*/ 6107161 w 6112069"/>
                <a:gd name="connsiteY3" fmla="*/ 1773233 h 6855043"/>
                <a:gd name="connsiteX4" fmla="*/ 5906250 w 6112069"/>
                <a:gd name="connsiteY4" fmla="*/ 2914299 h 6855043"/>
                <a:gd name="connsiteX5" fmla="*/ 5713067 w 6112069"/>
                <a:gd name="connsiteY5" fmla="*/ 3352181 h 6855043"/>
                <a:gd name="connsiteX6" fmla="*/ 5717858 w 6112069"/>
                <a:gd name="connsiteY6" fmla="*/ 6855043 h 6855043"/>
                <a:gd name="connsiteX7" fmla="*/ 0 w 6112069"/>
                <a:gd name="connsiteY7" fmla="*/ 6855043 h 6855043"/>
                <a:gd name="connsiteX8" fmla="*/ 0 w 611206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0968"/>
                <a:gd name="connsiteY0" fmla="*/ 0 h 6855043"/>
                <a:gd name="connsiteX1" fmla="*/ 5717858 w 6110968"/>
                <a:gd name="connsiteY1" fmla="*/ 0 h 6855043"/>
                <a:gd name="connsiteX2" fmla="*/ 5714999 w 6110968"/>
                <a:gd name="connsiteY2" fmla="*/ 1391289 h 6855043"/>
                <a:gd name="connsiteX3" fmla="*/ 6034733 w 6110968"/>
                <a:gd name="connsiteY3" fmla="*/ 1812464 h 6855043"/>
                <a:gd name="connsiteX4" fmla="*/ 6096858 w 6110968"/>
                <a:gd name="connsiteY4" fmla="*/ 2970966 h 6855043"/>
                <a:gd name="connsiteX5" fmla="*/ 5713067 w 6110968"/>
                <a:gd name="connsiteY5" fmla="*/ 3352181 h 6855043"/>
                <a:gd name="connsiteX6" fmla="*/ 5717858 w 6110968"/>
                <a:gd name="connsiteY6" fmla="*/ 6855043 h 6855043"/>
                <a:gd name="connsiteX7" fmla="*/ 0 w 6110968"/>
                <a:gd name="connsiteY7" fmla="*/ 6855043 h 6855043"/>
                <a:gd name="connsiteX8" fmla="*/ 0 w 6110968"/>
                <a:gd name="connsiteY8" fmla="*/ 0 h 6855043"/>
                <a:gd name="connsiteX0" fmla="*/ 0 w 6125537"/>
                <a:gd name="connsiteY0" fmla="*/ 0 h 6855043"/>
                <a:gd name="connsiteX1" fmla="*/ 5717858 w 6125537"/>
                <a:gd name="connsiteY1" fmla="*/ 0 h 6855043"/>
                <a:gd name="connsiteX2" fmla="*/ 5714999 w 6125537"/>
                <a:gd name="connsiteY2" fmla="*/ 1391289 h 6855043"/>
                <a:gd name="connsiteX3" fmla="*/ 6098107 w 6125537"/>
                <a:gd name="connsiteY3" fmla="*/ 1770215 h 6855043"/>
                <a:gd name="connsiteX4" fmla="*/ 6096858 w 6125537"/>
                <a:gd name="connsiteY4" fmla="*/ 2970966 h 6855043"/>
                <a:gd name="connsiteX5" fmla="*/ 5713067 w 6125537"/>
                <a:gd name="connsiteY5" fmla="*/ 3352181 h 6855043"/>
                <a:gd name="connsiteX6" fmla="*/ 5717858 w 6125537"/>
                <a:gd name="connsiteY6" fmla="*/ 6855043 h 6855043"/>
                <a:gd name="connsiteX7" fmla="*/ 0 w 6125537"/>
                <a:gd name="connsiteY7" fmla="*/ 6855043 h 6855043"/>
                <a:gd name="connsiteX8" fmla="*/ 0 w 612553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5936913 w 6098107"/>
                <a:gd name="connsiteY4" fmla="*/ 2983038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119069"/>
                <a:gd name="connsiteY0" fmla="*/ 0 h 6855043"/>
                <a:gd name="connsiteX1" fmla="*/ 5717858 w 6119069"/>
                <a:gd name="connsiteY1" fmla="*/ 0 h 6855043"/>
                <a:gd name="connsiteX2" fmla="*/ 5714999 w 6119069"/>
                <a:gd name="connsiteY2" fmla="*/ 1391289 h 6855043"/>
                <a:gd name="connsiteX3" fmla="*/ 6098107 w 6119069"/>
                <a:gd name="connsiteY3" fmla="*/ 1770215 h 6855043"/>
                <a:gd name="connsiteX4" fmla="*/ 6087804 w 6119069"/>
                <a:gd name="connsiteY4" fmla="*/ 2964931 h 6855043"/>
                <a:gd name="connsiteX5" fmla="*/ 5713067 w 6119069"/>
                <a:gd name="connsiteY5" fmla="*/ 3352181 h 6855043"/>
                <a:gd name="connsiteX6" fmla="*/ 5717858 w 6119069"/>
                <a:gd name="connsiteY6" fmla="*/ 6855043 h 6855043"/>
                <a:gd name="connsiteX7" fmla="*/ 0 w 6119069"/>
                <a:gd name="connsiteY7" fmla="*/ 6855043 h 6855043"/>
                <a:gd name="connsiteX8" fmla="*/ 0 w 6119069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73985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98107" h="6855043">
                  <a:moveTo>
                    <a:pt x="0" y="0"/>
                  </a:moveTo>
                  <a:lnTo>
                    <a:pt x="5717858" y="0"/>
                  </a:lnTo>
                  <a:lnTo>
                    <a:pt x="5714999" y="1391289"/>
                  </a:lnTo>
                  <a:lnTo>
                    <a:pt x="6098107" y="1770215"/>
                  </a:lnTo>
                  <a:cubicBezTo>
                    <a:pt x="6097356" y="2042939"/>
                    <a:pt x="6094320" y="2706021"/>
                    <a:pt x="6087804" y="2973985"/>
                  </a:cubicBezTo>
                  <a:cubicBezTo>
                    <a:pt x="6087512" y="2985992"/>
                    <a:pt x="5904491" y="3165556"/>
                    <a:pt x="5713067" y="3352181"/>
                  </a:cubicBezTo>
                  <a:cubicBezTo>
                    <a:pt x="5711481" y="3806821"/>
                    <a:pt x="5716261" y="5687422"/>
                    <a:pt x="5717858" y="6855043"/>
                  </a:cubicBezTo>
                  <a:lnTo>
                    <a:pt x="0" y="68550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Arial" panose="020B0604020202020204" pitchFamily="34" charset="0"/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4939469" y="0"/>
              <a:ext cx="7252531" cy="478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4939469" y="6389909"/>
              <a:ext cx="7252531" cy="478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15"/>
          <p:cNvSpPr>
            <a:spLocks noGrp="1"/>
          </p:cNvSpPr>
          <p:nvPr>
            <p:ph type="body" sz="quarter" idx="11" hasCustomPrompt="1"/>
          </p:nvPr>
        </p:nvSpPr>
        <p:spPr>
          <a:xfrm>
            <a:off x="537577" y="4326296"/>
            <a:ext cx="3698369" cy="4220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/>
            </a:lvl1pPr>
          </a:lstStyle>
          <a:p>
            <a:pPr lvl="0"/>
            <a:r>
              <a:rPr lang="ru-RU" dirty="0"/>
              <a:t>Фамилия Имя Отчество</a:t>
            </a:r>
          </a:p>
        </p:txBody>
      </p:sp>
      <p:sp>
        <p:nvSpPr>
          <p:cNvPr id="15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519329" y="4693411"/>
            <a:ext cx="3716617" cy="90539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i="1" baseline="0"/>
            </a:lvl1pPr>
          </a:lstStyle>
          <a:p>
            <a:pPr lvl="0"/>
            <a:r>
              <a:rPr lang="ru-RU" dirty="0"/>
              <a:t>Должность докладчика</a:t>
            </a:r>
          </a:p>
        </p:txBody>
      </p:sp>
      <p:pic>
        <p:nvPicPr>
          <p:cNvPr id="17" name="Рисунок 27">
            <a:extLst>
              <a:ext uri="{FF2B5EF4-FFF2-40B4-BE49-F238E27FC236}">
                <a16:creationId xmlns:a16="http://schemas.microsoft.com/office/drawing/2014/main" id="{BEF0AA5E-D12B-EE45-9DEB-9AFA60DFC1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18444" y="5834587"/>
            <a:ext cx="1995565" cy="552266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029808D-A93D-F042-BC3B-CDB1D7C5A4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444" y="1680310"/>
            <a:ext cx="5046015" cy="11692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00"/>
              </a:lnSpc>
              <a:buNone/>
              <a:defRPr sz="40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ПРИМЕР ЗАГОЛОВКА НЕ БОЛЕЕ ДВУХ СТРОК</a:t>
            </a:r>
          </a:p>
        </p:txBody>
      </p:sp>
    </p:spTree>
    <p:extLst>
      <p:ext uri="{BB962C8B-B14F-4D97-AF65-F5344CB8AC3E}">
        <p14:creationId xmlns:p14="http://schemas.microsoft.com/office/powerpoint/2010/main" val="1687725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74298" y="331524"/>
            <a:ext cx="7817702" cy="6091093"/>
          </a:xfrm>
          <a:prstGeom prst="rect">
            <a:avLst/>
          </a:prstGeom>
        </p:spPr>
      </p:pic>
      <p:grpSp>
        <p:nvGrpSpPr>
          <p:cNvPr id="4" name="Группа 3"/>
          <p:cNvGrpSpPr/>
          <p:nvPr userDrawn="1"/>
        </p:nvGrpSpPr>
        <p:grpSpPr>
          <a:xfrm>
            <a:off x="9057" y="0"/>
            <a:ext cx="12182943" cy="6868473"/>
            <a:chOff x="9057" y="0"/>
            <a:chExt cx="12182943" cy="6868473"/>
          </a:xfrm>
          <a:solidFill>
            <a:schemeClr val="bg1"/>
          </a:solidFill>
        </p:grpSpPr>
        <p:sp>
          <p:nvSpPr>
            <p:cNvPr id="5" name="Прямоугольник 7"/>
            <p:cNvSpPr/>
            <p:nvPr/>
          </p:nvSpPr>
          <p:spPr>
            <a:xfrm>
              <a:off x="9057" y="1478"/>
              <a:ext cx="6098107" cy="6855043"/>
            </a:xfrm>
            <a:custGeom>
              <a:avLst/>
              <a:gdLst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7858 w 5717858"/>
                <a:gd name="connsiteY2" fmla="*/ 6855043 h 6855043"/>
                <a:gd name="connsiteX3" fmla="*/ 0 w 5717858"/>
                <a:gd name="connsiteY3" fmla="*/ 6855043 h 6855043"/>
                <a:gd name="connsiteX4" fmla="*/ 0 w 5717858"/>
                <a:gd name="connsiteY4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7858 w 5717858"/>
                <a:gd name="connsiteY3" fmla="*/ 6855043 h 6855043"/>
                <a:gd name="connsiteX4" fmla="*/ 0 w 5717858"/>
                <a:gd name="connsiteY4" fmla="*/ 6855043 h 6855043"/>
                <a:gd name="connsiteX5" fmla="*/ 0 w 5717858"/>
                <a:gd name="connsiteY5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7858 w 5717858"/>
                <a:gd name="connsiteY4" fmla="*/ 6855043 h 6855043"/>
                <a:gd name="connsiteX5" fmla="*/ 0 w 5717858"/>
                <a:gd name="connsiteY5" fmla="*/ 6855043 h 6855043"/>
                <a:gd name="connsiteX6" fmla="*/ 0 w 5717858"/>
                <a:gd name="connsiteY6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3067 w 5717858"/>
                <a:gd name="connsiteY4" fmla="*/ 3352181 h 6855043"/>
                <a:gd name="connsiteX5" fmla="*/ 5717858 w 5717858"/>
                <a:gd name="connsiteY5" fmla="*/ 6855043 h 6855043"/>
                <a:gd name="connsiteX6" fmla="*/ 0 w 5717858"/>
                <a:gd name="connsiteY6" fmla="*/ 6855043 h 6855043"/>
                <a:gd name="connsiteX7" fmla="*/ 0 w 5717858"/>
                <a:gd name="connsiteY7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5717858"/>
                <a:gd name="connsiteY0" fmla="*/ 0 h 6855043"/>
                <a:gd name="connsiteX1" fmla="*/ 5717858 w 5717858"/>
                <a:gd name="connsiteY1" fmla="*/ 0 h 6855043"/>
                <a:gd name="connsiteX2" fmla="*/ 5714999 w 5717858"/>
                <a:gd name="connsiteY2" fmla="*/ 1391289 h 6855043"/>
                <a:gd name="connsiteX3" fmla="*/ 5713067 w 5717858"/>
                <a:gd name="connsiteY3" fmla="*/ 1989596 h 6855043"/>
                <a:gd name="connsiteX4" fmla="*/ 5710491 w 5717858"/>
                <a:gd name="connsiteY4" fmla="*/ 3027633 h 6855043"/>
                <a:gd name="connsiteX5" fmla="*/ 5713067 w 5717858"/>
                <a:gd name="connsiteY5" fmla="*/ 3352181 h 6855043"/>
                <a:gd name="connsiteX6" fmla="*/ 5717858 w 5717858"/>
                <a:gd name="connsiteY6" fmla="*/ 6855043 h 6855043"/>
                <a:gd name="connsiteX7" fmla="*/ 0 w 5717858"/>
                <a:gd name="connsiteY7" fmla="*/ 6855043 h 6855043"/>
                <a:gd name="connsiteX8" fmla="*/ 0 w 5717858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17009"/>
                <a:gd name="connsiteY0" fmla="*/ 0 h 6855043"/>
                <a:gd name="connsiteX1" fmla="*/ 5717858 w 6017009"/>
                <a:gd name="connsiteY1" fmla="*/ 0 h 6855043"/>
                <a:gd name="connsiteX2" fmla="*/ 5714999 w 6017009"/>
                <a:gd name="connsiteY2" fmla="*/ 1391289 h 6855043"/>
                <a:gd name="connsiteX3" fmla="*/ 6017009 w 6017009"/>
                <a:gd name="connsiteY3" fmla="*/ 1999900 h 6855043"/>
                <a:gd name="connsiteX4" fmla="*/ 5710491 w 6017009"/>
                <a:gd name="connsiteY4" fmla="*/ 3027633 h 6855043"/>
                <a:gd name="connsiteX5" fmla="*/ 5713067 w 6017009"/>
                <a:gd name="connsiteY5" fmla="*/ 3352181 h 6855043"/>
                <a:gd name="connsiteX6" fmla="*/ 5717858 w 6017009"/>
                <a:gd name="connsiteY6" fmla="*/ 6855043 h 6855043"/>
                <a:gd name="connsiteX7" fmla="*/ 0 w 6017009"/>
                <a:gd name="connsiteY7" fmla="*/ 6855043 h 6855043"/>
                <a:gd name="connsiteX8" fmla="*/ 0 w 6017009"/>
                <a:gd name="connsiteY8" fmla="*/ 0 h 6855043"/>
                <a:gd name="connsiteX0" fmla="*/ 0 w 6053070"/>
                <a:gd name="connsiteY0" fmla="*/ 0 h 6855043"/>
                <a:gd name="connsiteX1" fmla="*/ 5717858 w 6053070"/>
                <a:gd name="connsiteY1" fmla="*/ 0 h 6855043"/>
                <a:gd name="connsiteX2" fmla="*/ 5714999 w 6053070"/>
                <a:gd name="connsiteY2" fmla="*/ 1391289 h 6855043"/>
                <a:gd name="connsiteX3" fmla="*/ 6053070 w 6053070"/>
                <a:gd name="connsiteY3" fmla="*/ 1971567 h 6855043"/>
                <a:gd name="connsiteX4" fmla="*/ 5710491 w 6053070"/>
                <a:gd name="connsiteY4" fmla="*/ 3027633 h 6855043"/>
                <a:gd name="connsiteX5" fmla="*/ 5713067 w 6053070"/>
                <a:gd name="connsiteY5" fmla="*/ 3352181 h 6855043"/>
                <a:gd name="connsiteX6" fmla="*/ 5717858 w 6053070"/>
                <a:gd name="connsiteY6" fmla="*/ 6855043 h 6855043"/>
                <a:gd name="connsiteX7" fmla="*/ 0 w 6053070"/>
                <a:gd name="connsiteY7" fmla="*/ 6855043 h 6855043"/>
                <a:gd name="connsiteX8" fmla="*/ 0 w 6053070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710491 w 6107161"/>
                <a:gd name="connsiteY4" fmla="*/ 3027633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27029"/>
                <a:gd name="connsiteY0" fmla="*/ 0 h 6855043"/>
                <a:gd name="connsiteX1" fmla="*/ 5717858 w 6127029"/>
                <a:gd name="connsiteY1" fmla="*/ 0 h 6855043"/>
                <a:gd name="connsiteX2" fmla="*/ 5714999 w 6127029"/>
                <a:gd name="connsiteY2" fmla="*/ 1391289 h 6855043"/>
                <a:gd name="connsiteX3" fmla="*/ 6107161 w 6127029"/>
                <a:gd name="connsiteY3" fmla="*/ 1773233 h 6855043"/>
                <a:gd name="connsiteX4" fmla="*/ 6094282 w 6127029"/>
                <a:gd name="connsiteY4" fmla="*/ 2978693 h 6855043"/>
                <a:gd name="connsiteX5" fmla="*/ 5713067 w 6127029"/>
                <a:gd name="connsiteY5" fmla="*/ 3352181 h 6855043"/>
                <a:gd name="connsiteX6" fmla="*/ 5717858 w 6127029"/>
                <a:gd name="connsiteY6" fmla="*/ 6855043 h 6855043"/>
                <a:gd name="connsiteX7" fmla="*/ 0 w 6127029"/>
                <a:gd name="connsiteY7" fmla="*/ 6855043 h 6855043"/>
                <a:gd name="connsiteX8" fmla="*/ 0 w 612702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2069"/>
                <a:gd name="connsiteY0" fmla="*/ 0 h 6855043"/>
                <a:gd name="connsiteX1" fmla="*/ 5717858 w 6112069"/>
                <a:gd name="connsiteY1" fmla="*/ 0 h 6855043"/>
                <a:gd name="connsiteX2" fmla="*/ 5714999 w 6112069"/>
                <a:gd name="connsiteY2" fmla="*/ 1391289 h 6855043"/>
                <a:gd name="connsiteX3" fmla="*/ 6107161 w 6112069"/>
                <a:gd name="connsiteY3" fmla="*/ 1773233 h 6855043"/>
                <a:gd name="connsiteX4" fmla="*/ 5906250 w 6112069"/>
                <a:gd name="connsiteY4" fmla="*/ 2914299 h 6855043"/>
                <a:gd name="connsiteX5" fmla="*/ 5713067 w 6112069"/>
                <a:gd name="connsiteY5" fmla="*/ 3352181 h 6855043"/>
                <a:gd name="connsiteX6" fmla="*/ 5717858 w 6112069"/>
                <a:gd name="connsiteY6" fmla="*/ 6855043 h 6855043"/>
                <a:gd name="connsiteX7" fmla="*/ 0 w 6112069"/>
                <a:gd name="connsiteY7" fmla="*/ 6855043 h 6855043"/>
                <a:gd name="connsiteX8" fmla="*/ 0 w 6112069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5906250 w 6107161"/>
                <a:gd name="connsiteY4" fmla="*/ 2914299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07161"/>
                <a:gd name="connsiteY0" fmla="*/ 0 h 6855043"/>
                <a:gd name="connsiteX1" fmla="*/ 5717858 w 6107161"/>
                <a:gd name="connsiteY1" fmla="*/ 0 h 6855043"/>
                <a:gd name="connsiteX2" fmla="*/ 5714999 w 6107161"/>
                <a:gd name="connsiteY2" fmla="*/ 1391289 h 6855043"/>
                <a:gd name="connsiteX3" fmla="*/ 6107161 w 6107161"/>
                <a:gd name="connsiteY3" fmla="*/ 1773233 h 6855043"/>
                <a:gd name="connsiteX4" fmla="*/ 6096858 w 6107161"/>
                <a:gd name="connsiteY4" fmla="*/ 2970966 h 6855043"/>
                <a:gd name="connsiteX5" fmla="*/ 5713067 w 6107161"/>
                <a:gd name="connsiteY5" fmla="*/ 3352181 h 6855043"/>
                <a:gd name="connsiteX6" fmla="*/ 5717858 w 6107161"/>
                <a:gd name="connsiteY6" fmla="*/ 6855043 h 6855043"/>
                <a:gd name="connsiteX7" fmla="*/ 0 w 6107161"/>
                <a:gd name="connsiteY7" fmla="*/ 6855043 h 6855043"/>
                <a:gd name="connsiteX8" fmla="*/ 0 w 6107161"/>
                <a:gd name="connsiteY8" fmla="*/ 0 h 6855043"/>
                <a:gd name="connsiteX0" fmla="*/ 0 w 6110968"/>
                <a:gd name="connsiteY0" fmla="*/ 0 h 6855043"/>
                <a:gd name="connsiteX1" fmla="*/ 5717858 w 6110968"/>
                <a:gd name="connsiteY1" fmla="*/ 0 h 6855043"/>
                <a:gd name="connsiteX2" fmla="*/ 5714999 w 6110968"/>
                <a:gd name="connsiteY2" fmla="*/ 1391289 h 6855043"/>
                <a:gd name="connsiteX3" fmla="*/ 6034733 w 6110968"/>
                <a:gd name="connsiteY3" fmla="*/ 1812464 h 6855043"/>
                <a:gd name="connsiteX4" fmla="*/ 6096858 w 6110968"/>
                <a:gd name="connsiteY4" fmla="*/ 2970966 h 6855043"/>
                <a:gd name="connsiteX5" fmla="*/ 5713067 w 6110968"/>
                <a:gd name="connsiteY5" fmla="*/ 3352181 h 6855043"/>
                <a:gd name="connsiteX6" fmla="*/ 5717858 w 6110968"/>
                <a:gd name="connsiteY6" fmla="*/ 6855043 h 6855043"/>
                <a:gd name="connsiteX7" fmla="*/ 0 w 6110968"/>
                <a:gd name="connsiteY7" fmla="*/ 6855043 h 6855043"/>
                <a:gd name="connsiteX8" fmla="*/ 0 w 6110968"/>
                <a:gd name="connsiteY8" fmla="*/ 0 h 6855043"/>
                <a:gd name="connsiteX0" fmla="*/ 0 w 6125537"/>
                <a:gd name="connsiteY0" fmla="*/ 0 h 6855043"/>
                <a:gd name="connsiteX1" fmla="*/ 5717858 w 6125537"/>
                <a:gd name="connsiteY1" fmla="*/ 0 h 6855043"/>
                <a:gd name="connsiteX2" fmla="*/ 5714999 w 6125537"/>
                <a:gd name="connsiteY2" fmla="*/ 1391289 h 6855043"/>
                <a:gd name="connsiteX3" fmla="*/ 6098107 w 6125537"/>
                <a:gd name="connsiteY3" fmla="*/ 1770215 h 6855043"/>
                <a:gd name="connsiteX4" fmla="*/ 6096858 w 6125537"/>
                <a:gd name="connsiteY4" fmla="*/ 2970966 h 6855043"/>
                <a:gd name="connsiteX5" fmla="*/ 5713067 w 6125537"/>
                <a:gd name="connsiteY5" fmla="*/ 3352181 h 6855043"/>
                <a:gd name="connsiteX6" fmla="*/ 5717858 w 6125537"/>
                <a:gd name="connsiteY6" fmla="*/ 6855043 h 6855043"/>
                <a:gd name="connsiteX7" fmla="*/ 0 w 6125537"/>
                <a:gd name="connsiteY7" fmla="*/ 6855043 h 6855043"/>
                <a:gd name="connsiteX8" fmla="*/ 0 w 612553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5936913 w 6098107"/>
                <a:gd name="connsiteY4" fmla="*/ 2983038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119069"/>
                <a:gd name="connsiteY0" fmla="*/ 0 h 6855043"/>
                <a:gd name="connsiteX1" fmla="*/ 5717858 w 6119069"/>
                <a:gd name="connsiteY1" fmla="*/ 0 h 6855043"/>
                <a:gd name="connsiteX2" fmla="*/ 5714999 w 6119069"/>
                <a:gd name="connsiteY2" fmla="*/ 1391289 h 6855043"/>
                <a:gd name="connsiteX3" fmla="*/ 6098107 w 6119069"/>
                <a:gd name="connsiteY3" fmla="*/ 1770215 h 6855043"/>
                <a:gd name="connsiteX4" fmla="*/ 6087804 w 6119069"/>
                <a:gd name="connsiteY4" fmla="*/ 2964931 h 6855043"/>
                <a:gd name="connsiteX5" fmla="*/ 5713067 w 6119069"/>
                <a:gd name="connsiteY5" fmla="*/ 3352181 h 6855043"/>
                <a:gd name="connsiteX6" fmla="*/ 5717858 w 6119069"/>
                <a:gd name="connsiteY6" fmla="*/ 6855043 h 6855043"/>
                <a:gd name="connsiteX7" fmla="*/ 0 w 6119069"/>
                <a:gd name="connsiteY7" fmla="*/ 6855043 h 6855043"/>
                <a:gd name="connsiteX8" fmla="*/ 0 w 6119069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64931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  <a:gd name="connsiteX0" fmla="*/ 0 w 6098107"/>
                <a:gd name="connsiteY0" fmla="*/ 0 h 6855043"/>
                <a:gd name="connsiteX1" fmla="*/ 5717858 w 6098107"/>
                <a:gd name="connsiteY1" fmla="*/ 0 h 6855043"/>
                <a:gd name="connsiteX2" fmla="*/ 5714999 w 6098107"/>
                <a:gd name="connsiteY2" fmla="*/ 1391289 h 6855043"/>
                <a:gd name="connsiteX3" fmla="*/ 6098107 w 6098107"/>
                <a:gd name="connsiteY3" fmla="*/ 1770215 h 6855043"/>
                <a:gd name="connsiteX4" fmla="*/ 6087804 w 6098107"/>
                <a:gd name="connsiteY4" fmla="*/ 2973985 h 6855043"/>
                <a:gd name="connsiteX5" fmla="*/ 5713067 w 6098107"/>
                <a:gd name="connsiteY5" fmla="*/ 3352181 h 6855043"/>
                <a:gd name="connsiteX6" fmla="*/ 5717858 w 6098107"/>
                <a:gd name="connsiteY6" fmla="*/ 6855043 h 6855043"/>
                <a:gd name="connsiteX7" fmla="*/ 0 w 6098107"/>
                <a:gd name="connsiteY7" fmla="*/ 6855043 h 6855043"/>
                <a:gd name="connsiteX8" fmla="*/ 0 w 6098107"/>
                <a:gd name="connsiteY8" fmla="*/ 0 h 685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98107" h="6855043">
                  <a:moveTo>
                    <a:pt x="0" y="0"/>
                  </a:moveTo>
                  <a:lnTo>
                    <a:pt x="5717858" y="0"/>
                  </a:lnTo>
                  <a:lnTo>
                    <a:pt x="5714999" y="1391289"/>
                  </a:lnTo>
                  <a:lnTo>
                    <a:pt x="6098107" y="1770215"/>
                  </a:lnTo>
                  <a:cubicBezTo>
                    <a:pt x="6097356" y="2042939"/>
                    <a:pt x="6094320" y="2706021"/>
                    <a:pt x="6087804" y="2973985"/>
                  </a:cubicBezTo>
                  <a:cubicBezTo>
                    <a:pt x="6087512" y="2985992"/>
                    <a:pt x="5904491" y="3165556"/>
                    <a:pt x="5713067" y="3352181"/>
                  </a:cubicBezTo>
                  <a:cubicBezTo>
                    <a:pt x="5711481" y="3806821"/>
                    <a:pt x="5716261" y="5687422"/>
                    <a:pt x="5717858" y="6855043"/>
                  </a:cubicBezTo>
                  <a:lnTo>
                    <a:pt x="0" y="68550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0" i="0" dirty="0">
                <a:latin typeface="Arial" panose="020B0604020202020204" pitchFamily="34" charset="0"/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4939469" y="0"/>
              <a:ext cx="7252531" cy="478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4939469" y="6389909"/>
              <a:ext cx="7252531" cy="478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507208" y="4458486"/>
            <a:ext cx="4877592" cy="90539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i="1" baseline="0"/>
            </a:lvl1pPr>
          </a:lstStyle>
          <a:p>
            <a:pPr lvl="0"/>
            <a:r>
              <a:rPr lang="ru-RU"/>
              <a:t>Сентябрь 2021</a:t>
            </a:r>
            <a:endParaRPr lang="ru-RU" dirty="0"/>
          </a:p>
        </p:txBody>
      </p:sp>
      <p:pic>
        <p:nvPicPr>
          <p:cNvPr id="12" name="Рисунок 27">
            <a:extLst>
              <a:ext uri="{FF2B5EF4-FFF2-40B4-BE49-F238E27FC236}">
                <a16:creationId xmlns:a16="http://schemas.microsoft.com/office/drawing/2014/main" id="{65D51C30-D01B-694F-B76D-918802E38BF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18444" y="5834587"/>
            <a:ext cx="1995565" cy="552266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5F797F-8DD6-DF4F-AE9D-B724791AFC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444" y="1680310"/>
            <a:ext cx="5046015" cy="11692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00"/>
              </a:lnSpc>
              <a:buNone/>
              <a:defRPr sz="40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ПРИМЕР ЗАГОЛОВКА НЕ БОЛЕЕ ДВУХ СТРОК</a:t>
            </a:r>
          </a:p>
        </p:txBody>
      </p:sp>
    </p:spTree>
    <p:extLst>
      <p:ext uri="{BB962C8B-B14F-4D97-AF65-F5344CB8AC3E}">
        <p14:creationId xmlns:p14="http://schemas.microsoft.com/office/powerpoint/2010/main" val="18806530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2"/>
          <p:cNvSpPr>
            <a:spLocks noGrp="1"/>
          </p:cNvSpPr>
          <p:nvPr>
            <p:ph type="pic" sz="quarter" idx="14" hasCustomPrompt="1"/>
          </p:nvPr>
        </p:nvSpPr>
        <p:spPr>
          <a:xfrm>
            <a:off x="5709684" y="478543"/>
            <a:ext cx="6482316" cy="5911366"/>
          </a:xfrm>
          <a:custGeom>
            <a:avLst/>
            <a:gdLst>
              <a:gd name="connsiteX0" fmla="*/ 0 w 6464300"/>
              <a:gd name="connsiteY0" fmla="*/ 0 h 5911345"/>
              <a:gd name="connsiteX1" fmla="*/ 6464300 w 6464300"/>
              <a:gd name="connsiteY1" fmla="*/ 0 h 5911345"/>
              <a:gd name="connsiteX2" fmla="*/ 6464300 w 6464300"/>
              <a:gd name="connsiteY2" fmla="*/ 5911345 h 5911345"/>
              <a:gd name="connsiteX3" fmla="*/ 0 w 6464300"/>
              <a:gd name="connsiteY3" fmla="*/ 5911345 h 5911345"/>
              <a:gd name="connsiteX4" fmla="*/ 0 w 6464300"/>
              <a:gd name="connsiteY4" fmla="*/ 0 h 5911345"/>
              <a:gd name="connsiteX0" fmla="*/ 0 w 6464300"/>
              <a:gd name="connsiteY0" fmla="*/ 16448 h 5927793"/>
              <a:gd name="connsiteX1" fmla="*/ 14339 w 6464300"/>
              <a:gd name="connsiteY1" fmla="*/ 0 h 5927793"/>
              <a:gd name="connsiteX2" fmla="*/ 6464300 w 6464300"/>
              <a:gd name="connsiteY2" fmla="*/ 16448 h 5927793"/>
              <a:gd name="connsiteX3" fmla="*/ 6464300 w 6464300"/>
              <a:gd name="connsiteY3" fmla="*/ 5927793 h 5927793"/>
              <a:gd name="connsiteX4" fmla="*/ 0 w 6464300"/>
              <a:gd name="connsiteY4" fmla="*/ 5927793 h 5927793"/>
              <a:gd name="connsiteX5" fmla="*/ 0 w 6464300"/>
              <a:gd name="connsiteY5" fmla="*/ 16448 h 5927793"/>
              <a:gd name="connsiteX0" fmla="*/ 0 w 6474132"/>
              <a:gd name="connsiteY0" fmla="*/ 980009 h 5927793"/>
              <a:gd name="connsiteX1" fmla="*/ 24171 w 6474132"/>
              <a:gd name="connsiteY1" fmla="*/ 0 h 5927793"/>
              <a:gd name="connsiteX2" fmla="*/ 6474132 w 6474132"/>
              <a:gd name="connsiteY2" fmla="*/ 16448 h 5927793"/>
              <a:gd name="connsiteX3" fmla="*/ 6474132 w 6474132"/>
              <a:gd name="connsiteY3" fmla="*/ 5927793 h 5927793"/>
              <a:gd name="connsiteX4" fmla="*/ 9832 w 6474132"/>
              <a:gd name="connsiteY4" fmla="*/ 5927793 h 5927793"/>
              <a:gd name="connsiteX5" fmla="*/ 0 w 6474132"/>
              <a:gd name="connsiteY5" fmla="*/ 980009 h 5927793"/>
              <a:gd name="connsiteX0" fmla="*/ 0 w 6474132"/>
              <a:gd name="connsiteY0" fmla="*/ 963561 h 5911345"/>
              <a:gd name="connsiteX1" fmla="*/ 2269 w 6474132"/>
              <a:gd name="connsiteY1" fmla="*/ 21881 h 5911345"/>
              <a:gd name="connsiteX2" fmla="*/ 6474132 w 6474132"/>
              <a:gd name="connsiteY2" fmla="*/ 0 h 5911345"/>
              <a:gd name="connsiteX3" fmla="*/ 6474132 w 6474132"/>
              <a:gd name="connsiteY3" fmla="*/ 5911345 h 5911345"/>
              <a:gd name="connsiteX4" fmla="*/ 9832 w 6474132"/>
              <a:gd name="connsiteY4" fmla="*/ 5911345 h 5911345"/>
              <a:gd name="connsiteX5" fmla="*/ 0 w 6474132"/>
              <a:gd name="connsiteY5" fmla="*/ 963561 h 5911345"/>
              <a:gd name="connsiteX0" fmla="*/ 0 w 6474132"/>
              <a:gd name="connsiteY0" fmla="*/ 963582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63582 h 5911366"/>
              <a:gd name="connsiteX0" fmla="*/ 0 w 6474132"/>
              <a:gd name="connsiteY0" fmla="*/ 930729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30729 h 5911366"/>
              <a:gd name="connsiteX0" fmla="*/ 0 w 6474132"/>
              <a:gd name="connsiteY0" fmla="*/ 908827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08827 h 5911366"/>
              <a:gd name="connsiteX0" fmla="*/ 14184 w 6471890"/>
              <a:gd name="connsiteY0" fmla="*/ 930729 h 5911366"/>
              <a:gd name="connsiteX1" fmla="*/ 27 w 6471890"/>
              <a:gd name="connsiteY1" fmla="*/ 0 h 5911366"/>
              <a:gd name="connsiteX2" fmla="*/ 6471890 w 6471890"/>
              <a:gd name="connsiteY2" fmla="*/ 21 h 5911366"/>
              <a:gd name="connsiteX3" fmla="*/ 6471890 w 6471890"/>
              <a:gd name="connsiteY3" fmla="*/ 5911366 h 5911366"/>
              <a:gd name="connsiteX4" fmla="*/ 7590 w 6471890"/>
              <a:gd name="connsiteY4" fmla="*/ 5911366 h 5911366"/>
              <a:gd name="connsiteX5" fmla="*/ 14184 w 6471890"/>
              <a:gd name="connsiteY5" fmla="*/ 930729 h 5911366"/>
              <a:gd name="connsiteX0" fmla="*/ 68918 w 6471870"/>
              <a:gd name="connsiteY0" fmla="*/ 919778 h 5911366"/>
              <a:gd name="connsiteX1" fmla="*/ 7 w 6471870"/>
              <a:gd name="connsiteY1" fmla="*/ 0 h 5911366"/>
              <a:gd name="connsiteX2" fmla="*/ 6471870 w 6471870"/>
              <a:gd name="connsiteY2" fmla="*/ 21 h 5911366"/>
              <a:gd name="connsiteX3" fmla="*/ 6471870 w 6471870"/>
              <a:gd name="connsiteY3" fmla="*/ 5911366 h 5911366"/>
              <a:gd name="connsiteX4" fmla="*/ 7570 w 6471870"/>
              <a:gd name="connsiteY4" fmla="*/ 5911366 h 5911366"/>
              <a:gd name="connsiteX5" fmla="*/ 68918 w 6471870"/>
              <a:gd name="connsiteY5" fmla="*/ 919778 h 5911366"/>
              <a:gd name="connsiteX0" fmla="*/ 3287 w 6471945"/>
              <a:gd name="connsiteY0" fmla="*/ 947155 h 5911366"/>
              <a:gd name="connsiteX1" fmla="*/ 82 w 6471945"/>
              <a:gd name="connsiteY1" fmla="*/ 0 h 5911366"/>
              <a:gd name="connsiteX2" fmla="*/ 6471945 w 6471945"/>
              <a:gd name="connsiteY2" fmla="*/ 21 h 5911366"/>
              <a:gd name="connsiteX3" fmla="*/ 6471945 w 6471945"/>
              <a:gd name="connsiteY3" fmla="*/ 5911366 h 5911366"/>
              <a:gd name="connsiteX4" fmla="*/ 7645 w 6471945"/>
              <a:gd name="connsiteY4" fmla="*/ 5911366 h 5911366"/>
              <a:gd name="connsiteX5" fmla="*/ 3287 w 6471945"/>
              <a:gd name="connsiteY5" fmla="*/ 947155 h 5911366"/>
              <a:gd name="connsiteX0" fmla="*/ 0 w 6474134"/>
              <a:gd name="connsiteY0" fmla="*/ 914302 h 5911366"/>
              <a:gd name="connsiteX1" fmla="*/ 2271 w 6474134"/>
              <a:gd name="connsiteY1" fmla="*/ 0 h 5911366"/>
              <a:gd name="connsiteX2" fmla="*/ 6474134 w 6474134"/>
              <a:gd name="connsiteY2" fmla="*/ 21 h 5911366"/>
              <a:gd name="connsiteX3" fmla="*/ 6474134 w 6474134"/>
              <a:gd name="connsiteY3" fmla="*/ 5911366 h 5911366"/>
              <a:gd name="connsiteX4" fmla="*/ 9834 w 6474134"/>
              <a:gd name="connsiteY4" fmla="*/ 5911366 h 5911366"/>
              <a:gd name="connsiteX5" fmla="*/ 0 w 6474134"/>
              <a:gd name="connsiteY5" fmla="*/ 914302 h 5911366"/>
              <a:gd name="connsiteX0" fmla="*/ 8721 w 6471904"/>
              <a:gd name="connsiteY0" fmla="*/ 925253 h 5911366"/>
              <a:gd name="connsiteX1" fmla="*/ 41 w 6471904"/>
              <a:gd name="connsiteY1" fmla="*/ 0 h 5911366"/>
              <a:gd name="connsiteX2" fmla="*/ 6471904 w 6471904"/>
              <a:gd name="connsiteY2" fmla="*/ 21 h 5911366"/>
              <a:gd name="connsiteX3" fmla="*/ 6471904 w 6471904"/>
              <a:gd name="connsiteY3" fmla="*/ 5911366 h 5911366"/>
              <a:gd name="connsiteX4" fmla="*/ 7604 w 6471904"/>
              <a:gd name="connsiteY4" fmla="*/ 5911366 h 5911366"/>
              <a:gd name="connsiteX5" fmla="*/ 8721 w 6471904"/>
              <a:gd name="connsiteY5" fmla="*/ 925253 h 5911366"/>
              <a:gd name="connsiteX0" fmla="*/ 0 w 6473816"/>
              <a:gd name="connsiteY0" fmla="*/ 93588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0 w 6473816"/>
              <a:gd name="connsiteY5" fmla="*/ 935886 h 5911366"/>
              <a:gd name="connsiteX0" fmla="*/ 473219 w 6947035"/>
              <a:gd name="connsiteY0" fmla="*/ 935886 h 5911366"/>
              <a:gd name="connsiteX1" fmla="*/ 475172 w 6947035"/>
              <a:gd name="connsiteY1" fmla="*/ 0 h 5911366"/>
              <a:gd name="connsiteX2" fmla="*/ 6947035 w 6947035"/>
              <a:gd name="connsiteY2" fmla="*/ 21 h 5911366"/>
              <a:gd name="connsiteX3" fmla="*/ 6947035 w 6947035"/>
              <a:gd name="connsiteY3" fmla="*/ 5911366 h 5911366"/>
              <a:gd name="connsiteX4" fmla="*/ 482735 w 6947035"/>
              <a:gd name="connsiteY4" fmla="*/ 5911366 h 5911366"/>
              <a:gd name="connsiteX5" fmla="*/ 470036 w 6947035"/>
              <a:gd name="connsiteY5" fmla="*/ 2732490 h 5911366"/>
              <a:gd name="connsiteX6" fmla="*/ 473219 w 6947035"/>
              <a:gd name="connsiteY6" fmla="*/ 935886 h 5911366"/>
              <a:gd name="connsiteX0" fmla="*/ 472029 w 6945845"/>
              <a:gd name="connsiteY0" fmla="*/ 935886 h 5911366"/>
              <a:gd name="connsiteX1" fmla="*/ 473982 w 6945845"/>
              <a:gd name="connsiteY1" fmla="*/ 0 h 5911366"/>
              <a:gd name="connsiteX2" fmla="*/ 6945845 w 6945845"/>
              <a:gd name="connsiteY2" fmla="*/ 21 h 5911366"/>
              <a:gd name="connsiteX3" fmla="*/ 6945845 w 6945845"/>
              <a:gd name="connsiteY3" fmla="*/ 5911366 h 5911366"/>
              <a:gd name="connsiteX4" fmla="*/ 481545 w 6945845"/>
              <a:gd name="connsiteY4" fmla="*/ 5911366 h 5911366"/>
              <a:gd name="connsiteX5" fmla="*/ 468846 w 6945845"/>
              <a:gd name="connsiteY5" fmla="*/ 2732490 h 5911366"/>
              <a:gd name="connsiteX6" fmla="*/ 472029 w 6945845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8563 w 6482379"/>
              <a:gd name="connsiteY0" fmla="*/ 935886 h 5911366"/>
              <a:gd name="connsiteX1" fmla="*/ 10516 w 6482379"/>
              <a:gd name="connsiteY1" fmla="*/ 0 h 5911366"/>
              <a:gd name="connsiteX2" fmla="*/ 6482379 w 6482379"/>
              <a:gd name="connsiteY2" fmla="*/ 21 h 5911366"/>
              <a:gd name="connsiteX3" fmla="*/ 6482379 w 6482379"/>
              <a:gd name="connsiteY3" fmla="*/ 5911366 h 5911366"/>
              <a:gd name="connsiteX4" fmla="*/ 18079 w 6482379"/>
              <a:gd name="connsiteY4" fmla="*/ 5911366 h 5911366"/>
              <a:gd name="connsiteX5" fmla="*/ 5380 w 6482379"/>
              <a:gd name="connsiteY5" fmla="*/ 2732490 h 5911366"/>
              <a:gd name="connsiteX6" fmla="*/ 64 w 6482379"/>
              <a:gd name="connsiteY6" fmla="*/ 2599583 h 5911366"/>
              <a:gd name="connsiteX7" fmla="*/ 8563 w 6482379"/>
              <a:gd name="connsiteY7" fmla="*/ 935886 h 5911366"/>
              <a:gd name="connsiteX0" fmla="*/ 14065 w 6487881"/>
              <a:gd name="connsiteY0" fmla="*/ 935886 h 5911366"/>
              <a:gd name="connsiteX1" fmla="*/ 16018 w 6487881"/>
              <a:gd name="connsiteY1" fmla="*/ 0 h 5911366"/>
              <a:gd name="connsiteX2" fmla="*/ 6487881 w 6487881"/>
              <a:gd name="connsiteY2" fmla="*/ 21 h 5911366"/>
              <a:gd name="connsiteX3" fmla="*/ 6487881 w 6487881"/>
              <a:gd name="connsiteY3" fmla="*/ 5911366 h 5911366"/>
              <a:gd name="connsiteX4" fmla="*/ 23581 w 6487881"/>
              <a:gd name="connsiteY4" fmla="*/ 5911366 h 5911366"/>
              <a:gd name="connsiteX5" fmla="*/ 10882 w 6487881"/>
              <a:gd name="connsiteY5" fmla="*/ 2732490 h 5911366"/>
              <a:gd name="connsiteX6" fmla="*/ 5566 w 6487881"/>
              <a:gd name="connsiteY6" fmla="*/ 2599583 h 5911366"/>
              <a:gd name="connsiteX7" fmla="*/ 250 w 6487881"/>
              <a:gd name="connsiteY7" fmla="*/ 2067955 h 5911366"/>
              <a:gd name="connsiteX8" fmla="*/ 14065 w 6487881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89335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893356 h 5911366"/>
              <a:gd name="connsiteX0" fmla="*/ 3201 w 6477017"/>
              <a:gd name="connsiteY0" fmla="*/ 893356 h 5911366"/>
              <a:gd name="connsiteX1" fmla="*/ 5154 w 6477017"/>
              <a:gd name="connsiteY1" fmla="*/ 0 h 5911366"/>
              <a:gd name="connsiteX2" fmla="*/ 6477017 w 6477017"/>
              <a:gd name="connsiteY2" fmla="*/ 21 h 5911366"/>
              <a:gd name="connsiteX3" fmla="*/ 6477017 w 6477017"/>
              <a:gd name="connsiteY3" fmla="*/ 5911366 h 5911366"/>
              <a:gd name="connsiteX4" fmla="*/ 12717 w 6477017"/>
              <a:gd name="connsiteY4" fmla="*/ 5911366 h 5911366"/>
              <a:gd name="connsiteX5" fmla="*/ 18 w 6477017"/>
              <a:gd name="connsiteY5" fmla="*/ 2732490 h 5911366"/>
              <a:gd name="connsiteX6" fmla="*/ 382790 w 6477017"/>
              <a:gd name="connsiteY6" fmla="*/ 2487941 h 5911366"/>
              <a:gd name="connsiteX7" fmla="*/ 398739 w 6477017"/>
              <a:gd name="connsiteY7" fmla="*/ 1286462 h 5911366"/>
              <a:gd name="connsiteX8" fmla="*/ 3201 w 6477017"/>
              <a:gd name="connsiteY8" fmla="*/ 893356 h 5911366"/>
              <a:gd name="connsiteX0" fmla="*/ 8517 w 6482333"/>
              <a:gd name="connsiteY0" fmla="*/ 893356 h 5911366"/>
              <a:gd name="connsiteX1" fmla="*/ 10470 w 6482333"/>
              <a:gd name="connsiteY1" fmla="*/ 0 h 5911366"/>
              <a:gd name="connsiteX2" fmla="*/ 6482333 w 6482333"/>
              <a:gd name="connsiteY2" fmla="*/ 21 h 5911366"/>
              <a:gd name="connsiteX3" fmla="*/ 6482333 w 6482333"/>
              <a:gd name="connsiteY3" fmla="*/ 5911366 h 5911366"/>
              <a:gd name="connsiteX4" fmla="*/ 18033 w 6482333"/>
              <a:gd name="connsiteY4" fmla="*/ 5911366 h 5911366"/>
              <a:gd name="connsiteX5" fmla="*/ 17 w 6482333"/>
              <a:gd name="connsiteY5" fmla="*/ 2913244 h 5911366"/>
              <a:gd name="connsiteX6" fmla="*/ 388106 w 6482333"/>
              <a:gd name="connsiteY6" fmla="*/ 2487941 h 5911366"/>
              <a:gd name="connsiteX7" fmla="*/ 404055 w 6482333"/>
              <a:gd name="connsiteY7" fmla="*/ 1286462 h 5911366"/>
              <a:gd name="connsiteX8" fmla="*/ 8517 w 6482333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82316" h="5911366">
                <a:moveTo>
                  <a:pt x="8500" y="893356"/>
                </a:moveTo>
                <a:cubicBezTo>
                  <a:pt x="9256" y="579463"/>
                  <a:pt x="9697" y="313893"/>
                  <a:pt x="10453" y="0"/>
                </a:cubicBezTo>
                <a:lnTo>
                  <a:pt x="6482316" y="21"/>
                </a:lnTo>
                <a:lnTo>
                  <a:pt x="6482316" y="5911366"/>
                </a:lnTo>
                <a:lnTo>
                  <a:pt x="18016" y="5911366"/>
                </a:lnTo>
                <a:cubicBezTo>
                  <a:pt x="12404" y="4865874"/>
                  <a:pt x="6902" y="3554944"/>
                  <a:pt x="0" y="2902611"/>
                </a:cubicBezTo>
                <a:cubicBezTo>
                  <a:pt x="214965" y="2664307"/>
                  <a:pt x="137693" y="2760793"/>
                  <a:pt x="388089" y="2487941"/>
                </a:cubicBezTo>
                <a:cubicBezTo>
                  <a:pt x="386317" y="2377185"/>
                  <a:pt x="402622" y="1563745"/>
                  <a:pt x="404038" y="1286462"/>
                </a:cubicBezTo>
                <a:cubicBezTo>
                  <a:pt x="155589" y="1057025"/>
                  <a:pt x="266370" y="1158271"/>
                  <a:pt x="8500" y="893356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/>
          <a:lstStyle>
            <a:lvl1pPr marL="0" indent="0" algn="ctr">
              <a:buNone/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27">
            <a:extLst>
              <a:ext uri="{FF2B5EF4-FFF2-40B4-BE49-F238E27FC236}">
                <a16:creationId xmlns:a16="http://schemas.microsoft.com/office/drawing/2014/main" id="{953F7AC8-E2E9-E84D-8567-A9ABD4213F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18444" y="5834587"/>
            <a:ext cx="1995565" cy="55226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B4CEE0C-0074-2144-A048-93D705C5AA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8444" y="1680310"/>
            <a:ext cx="5046015" cy="11692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00"/>
              </a:lnSpc>
              <a:buNone/>
              <a:defRPr sz="40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ПРИМЕР ЗАГОЛОВКА НЕ БОЛЕЕ ДВУХ СТРОК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88580F2-3437-F843-97CC-13E8F7F8B0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8444" y="3635593"/>
            <a:ext cx="4064707" cy="1169284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000"/>
              </a:lnSpc>
              <a:buNone/>
              <a:defRPr sz="3200" b="1" i="0">
                <a:latin typeface="Arial Narrow" panose="020B0604020202020204" pitchFamily="34" charset="0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ru-RU" dirty="0"/>
              <a:t>Пример подзаголовка не более трех строк</a:t>
            </a:r>
          </a:p>
        </p:txBody>
      </p:sp>
    </p:spTree>
    <p:extLst>
      <p:ext uri="{BB962C8B-B14F-4D97-AF65-F5344CB8AC3E}">
        <p14:creationId xmlns:p14="http://schemas.microsoft.com/office/powerpoint/2010/main" val="13618757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2"/>
          <p:cNvSpPr>
            <a:spLocks noGrp="1"/>
          </p:cNvSpPr>
          <p:nvPr>
            <p:ph type="pic" sz="quarter" idx="14" hasCustomPrompt="1"/>
          </p:nvPr>
        </p:nvSpPr>
        <p:spPr>
          <a:xfrm>
            <a:off x="5709684" y="478543"/>
            <a:ext cx="6482316" cy="5911366"/>
          </a:xfrm>
          <a:custGeom>
            <a:avLst/>
            <a:gdLst>
              <a:gd name="connsiteX0" fmla="*/ 0 w 6464300"/>
              <a:gd name="connsiteY0" fmla="*/ 0 h 5911345"/>
              <a:gd name="connsiteX1" fmla="*/ 6464300 w 6464300"/>
              <a:gd name="connsiteY1" fmla="*/ 0 h 5911345"/>
              <a:gd name="connsiteX2" fmla="*/ 6464300 w 6464300"/>
              <a:gd name="connsiteY2" fmla="*/ 5911345 h 5911345"/>
              <a:gd name="connsiteX3" fmla="*/ 0 w 6464300"/>
              <a:gd name="connsiteY3" fmla="*/ 5911345 h 5911345"/>
              <a:gd name="connsiteX4" fmla="*/ 0 w 6464300"/>
              <a:gd name="connsiteY4" fmla="*/ 0 h 5911345"/>
              <a:gd name="connsiteX0" fmla="*/ 0 w 6464300"/>
              <a:gd name="connsiteY0" fmla="*/ 16448 h 5927793"/>
              <a:gd name="connsiteX1" fmla="*/ 14339 w 6464300"/>
              <a:gd name="connsiteY1" fmla="*/ 0 h 5927793"/>
              <a:gd name="connsiteX2" fmla="*/ 6464300 w 6464300"/>
              <a:gd name="connsiteY2" fmla="*/ 16448 h 5927793"/>
              <a:gd name="connsiteX3" fmla="*/ 6464300 w 6464300"/>
              <a:gd name="connsiteY3" fmla="*/ 5927793 h 5927793"/>
              <a:gd name="connsiteX4" fmla="*/ 0 w 6464300"/>
              <a:gd name="connsiteY4" fmla="*/ 5927793 h 5927793"/>
              <a:gd name="connsiteX5" fmla="*/ 0 w 6464300"/>
              <a:gd name="connsiteY5" fmla="*/ 16448 h 5927793"/>
              <a:gd name="connsiteX0" fmla="*/ 0 w 6474132"/>
              <a:gd name="connsiteY0" fmla="*/ 980009 h 5927793"/>
              <a:gd name="connsiteX1" fmla="*/ 24171 w 6474132"/>
              <a:gd name="connsiteY1" fmla="*/ 0 h 5927793"/>
              <a:gd name="connsiteX2" fmla="*/ 6474132 w 6474132"/>
              <a:gd name="connsiteY2" fmla="*/ 16448 h 5927793"/>
              <a:gd name="connsiteX3" fmla="*/ 6474132 w 6474132"/>
              <a:gd name="connsiteY3" fmla="*/ 5927793 h 5927793"/>
              <a:gd name="connsiteX4" fmla="*/ 9832 w 6474132"/>
              <a:gd name="connsiteY4" fmla="*/ 5927793 h 5927793"/>
              <a:gd name="connsiteX5" fmla="*/ 0 w 6474132"/>
              <a:gd name="connsiteY5" fmla="*/ 980009 h 5927793"/>
              <a:gd name="connsiteX0" fmla="*/ 0 w 6474132"/>
              <a:gd name="connsiteY0" fmla="*/ 963561 h 5911345"/>
              <a:gd name="connsiteX1" fmla="*/ 2269 w 6474132"/>
              <a:gd name="connsiteY1" fmla="*/ 21881 h 5911345"/>
              <a:gd name="connsiteX2" fmla="*/ 6474132 w 6474132"/>
              <a:gd name="connsiteY2" fmla="*/ 0 h 5911345"/>
              <a:gd name="connsiteX3" fmla="*/ 6474132 w 6474132"/>
              <a:gd name="connsiteY3" fmla="*/ 5911345 h 5911345"/>
              <a:gd name="connsiteX4" fmla="*/ 9832 w 6474132"/>
              <a:gd name="connsiteY4" fmla="*/ 5911345 h 5911345"/>
              <a:gd name="connsiteX5" fmla="*/ 0 w 6474132"/>
              <a:gd name="connsiteY5" fmla="*/ 963561 h 5911345"/>
              <a:gd name="connsiteX0" fmla="*/ 0 w 6474132"/>
              <a:gd name="connsiteY0" fmla="*/ 963582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63582 h 5911366"/>
              <a:gd name="connsiteX0" fmla="*/ 0 w 6474132"/>
              <a:gd name="connsiteY0" fmla="*/ 930729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30729 h 5911366"/>
              <a:gd name="connsiteX0" fmla="*/ 0 w 6474132"/>
              <a:gd name="connsiteY0" fmla="*/ 908827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08827 h 5911366"/>
              <a:gd name="connsiteX0" fmla="*/ 14184 w 6471890"/>
              <a:gd name="connsiteY0" fmla="*/ 930729 h 5911366"/>
              <a:gd name="connsiteX1" fmla="*/ 27 w 6471890"/>
              <a:gd name="connsiteY1" fmla="*/ 0 h 5911366"/>
              <a:gd name="connsiteX2" fmla="*/ 6471890 w 6471890"/>
              <a:gd name="connsiteY2" fmla="*/ 21 h 5911366"/>
              <a:gd name="connsiteX3" fmla="*/ 6471890 w 6471890"/>
              <a:gd name="connsiteY3" fmla="*/ 5911366 h 5911366"/>
              <a:gd name="connsiteX4" fmla="*/ 7590 w 6471890"/>
              <a:gd name="connsiteY4" fmla="*/ 5911366 h 5911366"/>
              <a:gd name="connsiteX5" fmla="*/ 14184 w 6471890"/>
              <a:gd name="connsiteY5" fmla="*/ 930729 h 5911366"/>
              <a:gd name="connsiteX0" fmla="*/ 68918 w 6471870"/>
              <a:gd name="connsiteY0" fmla="*/ 919778 h 5911366"/>
              <a:gd name="connsiteX1" fmla="*/ 7 w 6471870"/>
              <a:gd name="connsiteY1" fmla="*/ 0 h 5911366"/>
              <a:gd name="connsiteX2" fmla="*/ 6471870 w 6471870"/>
              <a:gd name="connsiteY2" fmla="*/ 21 h 5911366"/>
              <a:gd name="connsiteX3" fmla="*/ 6471870 w 6471870"/>
              <a:gd name="connsiteY3" fmla="*/ 5911366 h 5911366"/>
              <a:gd name="connsiteX4" fmla="*/ 7570 w 6471870"/>
              <a:gd name="connsiteY4" fmla="*/ 5911366 h 5911366"/>
              <a:gd name="connsiteX5" fmla="*/ 68918 w 6471870"/>
              <a:gd name="connsiteY5" fmla="*/ 919778 h 5911366"/>
              <a:gd name="connsiteX0" fmla="*/ 3287 w 6471945"/>
              <a:gd name="connsiteY0" fmla="*/ 947155 h 5911366"/>
              <a:gd name="connsiteX1" fmla="*/ 82 w 6471945"/>
              <a:gd name="connsiteY1" fmla="*/ 0 h 5911366"/>
              <a:gd name="connsiteX2" fmla="*/ 6471945 w 6471945"/>
              <a:gd name="connsiteY2" fmla="*/ 21 h 5911366"/>
              <a:gd name="connsiteX3" fmla="*/ 6471945 w 6471945"/>
              <a:gd name="connsiteY3" fmla="*/ 5911366 h 5911366"/>
              <a:gd name="connsiteX4" fmla="*/ 7645 w 6471945"/>
              <a:gd name="connsiteY4" fmla="*/ 5911366 h 5911366"/>
              <a:gd name="connsiteX5" fmla="*/ 3287 w 6471945"/>
              <a:gd name="connsiteY5" fmla="*/ 947155 h 5911366"/>
              <a:gd name="connsiteX0" fmla="*/ 0 w 6474134"/>
              <a:gd name="connsiteY0" fmla="*/ 914302 h 5911366"/>
              <a:gd name="connsiteX1" fmla="*/ 2271 w 6474134"/>
              <a:gd name="connsiteY1" fmla="*/ 0 h 5911366"/>
              <a:gd name="connsiteX2" fmla="*/ 6474134 w 6474134"/>
              <a:gd name="connsiteY2" fmla="*/ 21 h 5911366"/>
              <a:gd name="connsiteX3" fmla="*/ 6474134 w 6474134"/>
              <a:gd name="connsiteY3" fmla="*/ 5911366 h 5911366"/>
              <a:gd name="connsiteX4" fmla="*/ 9834 w 6474134"/>
              <a:gd name="connsiteY4" fmla="*/ 5911366 h 5911366"/>
              <a:gd name="connsiteX5" fmla="*/ 0 w 6474134"/>
              <a:gd name="connsiteY5" fmla="*/ 914302 h 5911366"/>
              <a:gd name="connsiteX0" fmla="*/ 8721 w 6471904"/>
              <a:gd name="connsiteY0" fmla="*/ 925253 h 5911366"/>
              <a:gd name="connsiteX1" fmla="*/ 41 w 6471904"/>
              <a:gd name="connsiteY1" fmla="*/ 0 h 5911366"/>
              <a:gd name="connsiteX2" fmla="*/ 6471904 w 6471904"/>
              <a:gd name="connsiteY2" fmla="*/ 21 h 5911366"/>
              <a:gd name="connsiteX3" fmla="*/ 6471904 w 6471904"/>
              <a:gd name="connsiteY3" fmla="*/ 5911366 h 5911366"/>
              <a:gd name="connsiteX4" fmla="*/ 7604 w 6471904"/>
              <a:gd name="connsiteY4" fmla="*/ 5911366 h 5911366"/>
              <a:gd name="connsiteX5" fmla="*/ 8721 w 6471904"/>
              <a:gd name="connsiteY5" fmla="*/ 925253 h 5911366"/>
              <a:gd name="connsiteX0" fmla="*/ 0 w 6473816"/>
              <a:gd name="connsiteY0" fmla="*/ 93588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0 w 6473816"/>
              <a:gd name="connsiteY5" fmla="*/ 935886 h 5911366"/>
              <a:gd name="connsiteX0" fmla="*/ 473219 w 6947035"/>
              <a:gd name="connsiteY0" fmla="*/ 935886 h 5911366"/>
              <a:gd name="connsiteX1" fmla="*/ 475172 w 6947035"/>
              <a:gd name="connsiteY1" fmla="*/ 0 h 5911366"/>
              <a:gd name="connsiteX2" fmla="*/ 6947035 w 6947035"/>
              <a:gd name="connsiteY2" fmla="*/ 21 h 5911366"/>
              <a:gd name="connsiteX3" fmla="*/ 6947035 w 6947035"/>
              <a:gd name="connsiteY3" fmla="*/ 5911366 h 5911366"/>
              <a:gd name="connsiteX4" fmla="*/ 482735 w 6947035"/>
              <a:gd name="connsiteY4" fmla="*/ 5911366 h 5911366"/>
              <a:gd name="connsiteX5" fmla="*/ 470036 w 6947035"/>
              <a:gd name="connsiteY5" fmla="*/ 2732490 h 5911366"/>
              <a:gd name="connsiteX6" fmla="*/ 473219 w 6947035"/>
              <a:gd name="connsiteY6" fmla="*/ 935886 h 5911366"/>
              <a:gd name="connsiteX0" fmla="*/ 472029 w 6945845"/>
              <a:gd name="connsiteY0" fmla="*/ 935886 h 5911366"/>
              <a:gd name="connsiteX1" fmla="*/ 473982 w 6945845"/>
              <a:gd name="connsiteY1" fmla="*/ 0 h 5911366"/>
              <a:gd name="connsiteX2" fmla="*/ 6945845 w 6945845"/>
              <a:gd name="connsiteY2" fmla="*/ 21 h 5911366"/>
              <a:gd name="connsiteX3" fmla="*/ 6945845 w 6945845"/>
              <a:gd name="connsiteY3" fmla="*/ 5911366 h 5911366"/>
              <a:gd name="connsiteX4" fmla="*/ 481545 w 6945845"/>
              <a:gd name="connsiteY4" fmla="*/ 5911366 h 5911366"/>
              <a:gd name="connsiteX5" fmla="*/ 468846 w 6945845"/>
              <a:gd name="connsiteY5" fmla="*/ 2732490 h 5911366"/>
              <a:gd name="connsiteX6" fmla="*/ 472029 w 6945845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8563 w 6482379"/>
              <a:gd name="connsiteY0" fmla="*/ 935886 h 5911366"/>
              <a:gd name="connsiteX1" fmla="*/ 10516 w 6482379"/>
              <a:gd name="connsiteY1" fmla="*/ 0 h 5911366"/>
              <a:gd name="connsiteX2" fmla="*/ 6482379 w 6482379"/>
              <a:gd name="connsiteY2" fmla="*/ 21 h 5911366"/>
              <a:gd name="connsiteX3" fmla="*/ 6482379 w 6482379"/>
              <a:gd name="connsiteY3" fmla="*/ 5911366 h 5911366"/>
              <a:gd name="connsiteX4" fmla="*/ 18079 w 6482379"/>
              <a:gd name="connsiteY4" fmla="*/ 5911366 h 5911366"/>
              <a:gd name="connsiteX5" fmla="*/ 5380 w 6482379"/>
              <a:gd name="connsiteY5" fmla="*/ 2732490 h 5911366"/>
              <a:gd name="connsiteX6" fmla="*/ 64 w 6482379"/>
              <a:gd name="connsiteY6" fmla="*/ 2599583 h 5911366"/>
              <a:gd name="connsiteX7" fmla="*/ 8563 w 6482379"/>
              <a:gd name="connsiteY7" fmla="*/ 935886 h 5911366"/>
              <a:gd name="connsiteX0" fmla="*/ 14065 w 6487881"/>
              <a:gd name="connsiteY0" fmla="*/ 935886 h 5911366"/>
              <a:gd name="connsiteX1" fmla="*/ 16018 w 6487881"/>
              <a:gd name="connsiteY1" fmla="*/ 0 h 5911366"/>
              <a:gd name="connsiteX2" fmla="*/ 6487881 w 6487881"/>
              <a:gd name="connsiteY2" fmla="*/ 21 h 5911366"/>
              <a:gd name="connsiteX3" fmla="*/ 6487881 w 6487881"/>
              <a:gd name="connsiteY3" fmla="*/ 5911366 h 5911366"/>
              <a:gd name="connsiteX4" fmla="*/ 23581 w 6487881"/>
              <a:gd name="connsiteY4" fmla="*/ 5911366 h 5911366"/>
              <a:gd name="connsiteX5" fmla="*/ 10882 w 6487881"/>
              <a:gd name="connsiteY5" fmla="*/ 2732490 h 5911366"/>
              <a:gd name="connsiteX6" fmla="*/ 5566 w 6487881"/>
              <a:gd name="connsiteY6" fmla="*/ 2599583 h 5911366"/>
              <a:gd name="connsiteX7" fmla="*/ 250 w 6487881"/>
              <a:gd name="connsiteY7" fmla="*/ 2067955 h 5911366"/>
              <a:gd name="connsiteX8" fmla="*/ 14065 w 6487881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89335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893356 h 5911366"/>
              <a:gd name="connsiteX0" fmla="*/ 3201 w 6477017"/>
              <a:gd name="connsiteY0" fmla="*/ 893356 h 5911366"/>
              <a:gd name="connsiteX1" fmla="*/ 5154 w 6477017"/>
              <a:gd name="connsiteY1" fmla="*/ 0 h 5911366"/>
              <a:gd name="connsiteX2" fmla="*/ 6477017 w 6477017"/>
              <a:gd name="connsiteY2" fmla="*/ 21 h 5911366"/>
              <a:gd name="connsiteX3" fmla="*/ 6477017 w 6477017"/>
              <a:gd name="connsiteY3" fmla="*/ 5911366 h 5911366"/>
              <a:gd name="connsiteX4" fmla="*/ 12717 w 6477017"/>
              <a:gd name="connsiteY4" fmla="*/ 5911366 h 5911366"/>
              <a:gd name="connsiteX5" fmla="*/ 18 w 6477017"/>
              <a:gd name="connsiteY5" fmla="*/ 2732490 h 5911366"/>
              <a:gd name="connsiteX6" fmla="*/ 382790 w 6477017"/>
              <a:gd name="connsiteY6" fmla="*/ 2487941 h 5911366"/>
              <a:gd name="connsiteX7" fmla="*/ 398739 w 6477017"/>
              <a:gd name="connsiteY7" fmla="*/ 1286462 h 5911366"/>
              <a:gd name="connsiteX8" fmla="*/ 3201 w 6477017"/>
              <a:gd name="connsiteY8" fmla="*/ 893356 h 5911366"/>
              <a:gd name="connsiteX0" fmla="*/ 8517 w 6482333"/>
              <a:gd name="connsiteY0" fmla="*/ 893356 h 5911366"/>
              <a:gd name="connsiteX1" fmla="*/ 10470 w 6482333"/>
              <a:gd name="connsiteY1" fmla="*/ 0 h 5911366"/>
              <a:gd name="connsiteX2" fmla="*/ 6482333 w 6482333"/>
              <a:gd name="connsiteY2" fmla="*/ 21 h 5911366"/>
              <a:gd name="connsiteX3" fmla="*/ 6482333 w 6482333"/>
              <a:gd name="connsiteY3" fmla="*/ 5911366 h 5911366"/>
              <a:gd name="connsiteX4" fmla="*/ 18033 w 6482333"/>
              <a:gd name="connsiteY4" fmla="*/ 5911366 h 5911366"/>
              <a:gd name="connsiteX5" fmla="*/ 17 w 6482333"/>
              <a:gd name="connsiteY5" fmla="*/ 2913244 h 5911366"/>
              <a:gd name="connsiteX6" fmla="*/ 388106 w 6482333"/>
              <a:gd name="connsiteY6" fmla="*/ 2487941 h 5911366"/>
              <a:gd name="connsiteX7" fmla="*/ 404055 w 6482333"/>
              <a:gd name="connsiteY7" fmla="*/ 1286462 h 5911366"/>
              <a:gd name="connsiteX8" fmla="*/ 8517 w 6482333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82316" h="5911366">
                <a:moveTo>
                  <a:pt x="8500" y="893356"/>
                </a:moveTo>
                <a:cubicBezTo>
                  <a:pt x="9256" y="579463"/>
                  <a:pt x="9697" y="313893"/>
                  <a:pt x="10453" y="0"/>
                </a:cubicBezTo>
                <a:lnTo>
                  <a:pt x="6482316" y="21"/>
                </a:lnTo>
                <a:lnTo>
                  <a:pt x="6482316" y="5911366"/>
                </a:lnTo>
                <a:lnTo>
                  <a:pt x="18016" y="5911366"/>
                </a:lnTo>
                <a:cubicBezTo>
                  <a:pt x="12404" y="4865874"/>
                  <a:pt x="6902" y="3554944"/>
                  <a:pt x="0" y="2902611"/>
                </a:cubicBezTo>
                <a:cubicBezTo>
                  <a:pt x="214965" y="2664307"/>
                  <a:pt x="137693" y="2760793"/>
                  <a:pt x="388089" y="2487941"/>
                </a:cubicBezTo>
                <a:cubicBezTo>
                  <a:pt x="386317" y="2377185"/>
                  <a:pt x="402622" y="1563745"/>
                  <a:pt x="404038" y="1286462"/>
                </a:cubicBezTo>
                <a:cubicBezTo>
                  <a:pt x="155589" y="1057025"/>
                  <a:pt x="266370" y="1158271"/>
                  <a:pt x="8500" y="893356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/>
          <a:lstStyle>
            <a:lvl1pPr marL="0" indent="0" algn="ctr">
              <a:buNone/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59278" y="3797760"/>
            <a:ext cx="4826000" cy="4220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/>
            </a:lvl1pPr>
          </a:lstStyle>
          <a:p>
            <a:pPr lvl="0"/>
            <a:r>
              <a:rPr lang="ru-RU" dirty="0"/>
              <a:t>Фамилия Имя Отчество</a:t>
            </a:r>
          </a:p>
        </p:txBody>
      </p:sp>
      <p:sp>
        <p:nvSpPr>
          <p:cNvPr id="13" name="Текст 19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35466" y="4163396"/>
            <a:ext cx="4849812" cy="6752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i="1" baseline="0"/>
            </a:lvl1pPr>
          </a:lstStyle>
          <a:p>
            <a:pPr lvl="0"/>
            <a:r>
              <a:rPr lang="ru-RU" dirty="0"/>
              <a:t>Должность докладчика</a:t>
            </a:r>
          </a:p>
        </p:txBody>
      </p:sp>
      <p:pic>
        <p:nvPicPr>
          <p:cNvPr id="14" name="Рисунок 27">
            <a:extLst>
              <a:ext uri="{FF2B5EF4-FFF2-40B4-BE49-F238E27FC236}">
                <a16:creationId xmlns:a16="http://schemas.microsoft.com/office/drawing/2014/main" id="{6279FCC5-8F7A-D74C-9FBB-1A96981824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18444" y="5834587"/>
            <a:ext cx="1995565" cy="552266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168E7AB-85AA-B840-B0D0-BAC7124846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444" y="1680310"/>
            <a:ext cx="5046015" cy="11692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00"/>
              </a:lnSpc>
              <a:buNone/>
              <a:defRPr sz="40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ПРИМЕР ЗАГОЛОВКА НЕ БОЛЕЕ ДВУХ СТРОК</a:t>
            </a:r>
          </a:p>
        </p:txBody>
      </p:sp>
    </p:spTree>
    <p:extLst>
      <p:ext uri="{BB962C8B-B14F-4D97-AF65-F5344CB8AC3E}">
        <p14:creationId xmlns:p14="http://schemas.microsoft.com/office/powerpoint/2010/main" val="2028504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12"/>
          <p:cNvSpPr>
            <a:spLocks noGrp="1"/>
          </p:cNvSpPr>
          <p:nvPr>
            <p:ph type="pic" sz="quarter" idx="14" hasCustomPrompt="1"/>
          </p:nvPr>
        </p:nvSpPr>
        <p:spPr>
          <a:xfrm>
            <a:off x="5709684" y="478543"/>
            <a:ext cx="6482316" cy="5911366"/>
          </a:xfrm>
          <a:custGeom>
            <a:avLst/>
            <a:gdLst>
              <a:gd name="connsiteX0" fmla="*/ 0 w 6464300"/>
              <a:gd name="connsiteY0" fmla="*/ 0 h 5911345"/>
              <a:gd name="connsiteX1" fmla="*/ 6464300 w 6464300"/>
              <a:gd name="connsiteY1" fmla="*/ 0 h 5911345"/>
              <a:gd name="connsiteX2" fmla="*/ 6464300 w 6464300"/>
              <a:gd name="connsiteY2" fmla="*/ 5911345 h 5911345"/>
              <a:gd name="connsiteX3" fmla="*/ 0 w 6464300"/>
              <a:gd name="connsiteY3" fmla="*/ 5911345 h 5911345"/>
              <a:gd name="connsiteX4" fmla="*/ 0 w 6464300"/>
              <a:gd name="connsiteY4" fmla="*/ 0 h 5911345"/>
              <a:gd name="connsiteX0" fmla="*/ 0 w 6464300"/>
              <a:gd name="connsiteY0" fmla="*/ 16448 h 5927793"/>
              <a:gd name="connsiteX1" fmla="*/ 14339 w 6464300"/>
              <a:gd name="connsiteY1" fmla="*/ 0 h 5927793"/>
              <a:gd name="connsiteX2" fmla="*/ 6464300 w 6464300"/>
              <a:gd name="connsiteY2" fmla="*/ 16448 h 5927793"/>
              <a:gd name="connsiteX3" fmla="*/ 6464300 w 6464300"/>
              <a:gd name="connsiteY3" fmla="*/ 5927793 h 5927793"/>
              <a:gd name="connsiteX4" fmla="*/ 0 w 6464300"/>
              <a:gd name="connsiteY4" fmla="*/ 5927793 h 5927793"/>
              <a:gd name="connsiteX5" fmla="*/ 0 w 6464300"/>
              <a:gd name="connsiteY5" fmla="*/ 16448 h 5927793"/>
              <a:gd name="connsiteX0" fmla="*/ 0 w 6474132"/>
              <a:gd name="connsiteY0" fmla="*/ 980009 h 5927793"/>
              <a:gd name="connsiteX1" fmla="*/ 24171 w 6474132"/>
              <a:gd name="connsiteY1" fmla="*/ 0 h 5927793"/>
              <a:gd name="connsiteX2" fmla="*/ 6474132 w 6474132"/>
              <a:gd name="connsiteY2" fmla="*/ 16448 h 5927793"/>
              <a:gd name="connsiteX3" fmla="*/ 6474132 w 6474132"/>
              <a:gd name="connsiteY3" fmla="*/ 5927793 h 5927793"/>
              <a:gd name="connsiteX4" fmla="*/ 9832 w 6474132"/>
              <a:gd name="connsiteY4" fmla="*/ 5927793 h 5927793"/>
              <a:gd name="connsiteX5" fmla="*/ 0 w 6474132"/>
              <a:gd name="connsiteY5" fmla="*/ 980009 h 5927793"/>
              <a:gd name="connsiteX0" fmla="*/ 0 w 6474132"/>
              <a:gd name="connsiteY0" fmla="*/ 963561 h 5911345"/>
              <a:gd name="connsiteX1" fmla="*/ 2269 w 6474132"/>
              <a:gd name="connsiteY1" fmla="*/ 21881 h 5911345"/>
              <a:gd name="connsiteX2" fmla="*/ 6474132 w 6474132"/>
              <a:gd name="connsiteY2" fmla="*/ 0 h 5911345"/>
              <a:gd name="connsiteX3" fmla="*/ 6474132 w 6474132"/>
              <a:gd name="connsiteY3" fmla="*/ 5911345 h 5911345"/>
              <a:gd name="connsiteX4" fmla="*/ 9832 w 6474132"/>
              <a:gd name="connsiteY4" fmla="*/ 5911345 h 5911345"/>
              <a:gd name="connsiteX5" fmla="*/ 0 w 6474132"/>
              <a:gd name="connsiteY5" fmla="*/ 963561 h 5911345"/>
              <a:gd name="connsiteX0" fmla="*/ 0 w 6474132"/>
              <a:gd name="connsiteY0" fmla="*/ 963582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63582 h 5911366"/>
              <a:gd name="connsiteX0" fmla="*/ 0 w 6474132"/>
              <a:gd name="connsiteY0" fmla="*/ 930729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30729 h 5911366"/>
              <a:gd name="connsiteX0" fmla="*/ 0 w 6474132"/>
              <a:gd name="connsiteY0" fmla="*/ 908827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08827 h 5911366"/>
              <a:gd name="connsiteX0" fmla="*/ 14184 w 6471890"/>
              <a:gd name="connsiteY0" fmla="*/ 930729 h 5911366"/>
              <a:gd name="connsiteX1" fmla="*/ 27 w 6471890"/>
              <a:gd name="connsiteY1" fmla="*/ 0 h 5911366"/>
              <a:gd name="connsiteX2" fmla="*/ 6471890 w 6471890"/>
              <a:gd name="connsiteY2" fmla="*/ 21 h 5911366"/>
              <a:gd name="connsiteX3" fmla="*/ 6471890 w 6471890"/>
              <a:gd name="connsiteY3" fmla="*/ 5911366 h 5911366"/>
              <a:gd name="connsiteX4" fmla="*/ 7590 w 6471890"/>
              <a:gd name="connsiteY4" fmla="*/ 5911366 h 5911366"/>
              <a:gd name="connsiteX5" fmla="*/ 14184 w 6471890"/>
              <a:gd name="connsiteY5" fmla="*/ 930729 h 5911366"/>
              <a:gd name="connsiteX0" fmla="*/ 68918 w 6471870"/>
              <a:gd name="connsiteY0" fmla="*/ 919778 h 5911366"/>
              <a:gd name="connsiteX1" fmla="*/ 7 w 6471870"/>
              <a:gd name="connsiteY1" fmla="*/ 0 h 5911366"/>
              <a:gd name="connsiteX2" fmla="*/ 6471870 w 6471870"/>
              <a:gd name="connsiteY2" fmla="*/ 21 h 5911366"/>
              <a:gd name="connsiteX3" fmla="*/ 6471870 w 6471870"/>
              <a:gd name="connsiteY3" fmla="*/ 5911366 h 5911366"/>
              <a:gd name="connsiteX4" fmla="*/ 7570 w 6471870"/>
              <a:gd name="connsiteY4" fmla="*/ 5911366 h 5911366"/>
              <a:gd name="connsiteX5" fmla="*/ 68918 w 6471870"/>
              <a:gd name="connsiteY5" fmla="*/ 919778 h 5911366"/>
              <a:gd name="connsiteX0" fmla="*/ 3287 w 6471945"/>
              <a:gd name="connsiteY0" fmla="*/ 947155 h 5911366"/>
              <a:gd name="connsiteX1" fmla="*/ 82 w 6471945"/>
              <a:gd name="connsiteY1" fmla="*/ 0 h 5911366"/>
              <a:gd name="connsiteX2" fmla="*/ 6471945 w 6471945"/>
              <a:gd name="connsiteY2" fmla="*/ 21 h 5911366"/>
              <a:gd name="connsiteX3" fmla="*/ 6471945 w 6471945"/>
              <a:gd name="connsiteY3" fmla="*/ 5911366 h 5911366"/>
              <a:gd name="connsiteX4" fmla="*/ 7645 w 6471945"/>
              <a:gd name="connsiteY4" fmla="*/ 5911366 h 5911366"/>
              <a:gd name="connsiteX5" fmla="*/ 3287 w 6471945"/>
              <a:gd name="connsiteY5" fmla="*/ 947155 h 5911366"/>
              <a:gd name="connsiteX0" fmla="*/ 0 w 6474134"/>
              <a:gd name="connsiteY0" fmla="*/ 914302 h 5911366"/>
              <a:gd name="connsiteX1" fmla="*/ 2271 w 6474134"/>
              <a:gd name="connsiteY1" fmla="*/ 0 h 5911366"/>
              <a:gd name="connsiteX2" fmla="*/ 6474134 w 6474134"/>
              <a:gd name="connsiteY2" fmla="*/ 21 h 5911366"/>
              <a:gd name="connsiteX3" fmla="*/ 6474134 w 6474134"/>
              <a:gd name="connsiteY3" fmla="*/ 5911366 h 5911366"/>
              <a:gd name="connsiteX4" fmla="*/ 9834 w 6474134"/>
              <a:gd name="connsiteY4" fmla="*/ 5911366 h 5911366"/>
              <a:gd name="connsiteX5" fmla="*/ 0 w 6474134"/>
              <a:gd name="connsiteY5" fmla="*/ 914302 h 5911366"/>
              <a:gd name="connsiteX0" fmla="*/ 8721 w 6471904"/>
              <a:gd name="connsiteY0" fmla="*/ 925253 h 5911366"/>
              <a:gd name="connsiteX1" fmla="*/ 41 w 6471904"/>
              <a:gd name="connsiteY1" fmla="*/ 0 h 5911366"/>
              <a:gd name="connsiteX2" fmla="*/ 6471904 w 6471904"/>
              <a:gd name="connsiteY2" fmla="*/ 21 h 5911366"/>
              <a:gd name="connsiteX3" fmla="*/ 6471904 w 6471904"/>
              <a:gd name="connsiteY3" fmla="*/ 5911366 h 5911366"/>
              <a:gd name="connsiteX4" fmla="*/ 7604 w 6471904"/>
              <a:gd name="connsiteY4" fmla="*/ 5911366 h 5911366"/>
              <a:gd name="connsiteX5" fmla="*/ 8721 w 6471904"/>
              <a:gd name="connsiteY5" fmla="*/ 925253 h 5911366"/>
              <a:gd name="connsiteX0" fmla="*/ 0 w 6473816"/>
              <a:gd name="connsiteY0" fmla="*/ 93588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0 w 6473816"/>
              <a:gd name="connsiteY5" fmla="*/ 935886 h 5911366"/>
              <a:gd name="connsiteX0" fmla="*/ 473219 w 6947035"/>
              <a:gd name="connsiteY0" fmla="*/ 935886 h 5911366"/>
              <a:gd name="connsiteX1" fmla="*/ 475172 w 6947035"/>
              <a:gd name="connsiteY1" fmla="*/ 0 h 5911366"/>
              <a:gd name="connsiteX2" fmla="*/ 6947035 w 6947035"/>
              <a:gd name="connsiteY2" fmla="*/ 21 h 5911366"/>
              <a:gd name="connsiteX3" fmla="*/ 6947035 w 6947035"/>
              <a:gd name="connsiteY3" fmla="*/ 5911366 h 5911366"/>
              <a:gd name="connsiteX4" fmla="*/ 482735 w 6947035"/>
              <a:gd name="connsiteY4" fmla="*/ 5911366 h 5911366"/>
              <a:gd name="connsiteX5" fmla="*/ 470036 w 6947035"/>
              <a:gd name="connsiteY5" fmla="*/ 2732490 h 5911366"/>
              <a:gd name="connsiteX6" fmla="*/ 473219 w 6947035"/>
              <a:gd name="connsiteY6" fmla="*/ 935886 h 5911366"/>
              <a:gd name="connsiteX0" fmla="*/ 472029 w 6945845"/>
              <a:gd name="connsiteY0" fmla="*/ 935886 h 5911366"/>
              <a:gd name="connsiteX1" fmla="*/ 473982 w 6945845"/>
              <a:gd name="connsiteY1" fmla="*/ 0 h 5911366"/>
              <a:gd name="connsiteX2" fmla="*/ 6945845 w 6945845"/>
              <a:gd name="connsiteY2" fmla="*/ 21 h 5911366"/>
              <a:gd name="connsiteX3" fmla="*/ 6945845 w 6945845"/>
              <a:gd name="connsiteY3" fmla="*/ 5911366 h 5911366"/>
              <a:gd name="connsiteX4" fmla="*/ 481545 w 6945845"/>
              <a:gd name="connsiteY4" fmla="*/ 5911366 h 5911366"/>
              <a:gd name="connsiteX5" fmla="*/ 468846 w 6945845"/>
              <a:gd name="connsiteY5" fmla="*/ 2732490 h 5911366"/>
              <a:gd name="connsiteX6" fmla="*/ 472029 w 6945845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8563 w 6482379"/>
              <a:gd name="connsiteY0" fmla="*/ 935886 h 5911366"/>
              <a:gd name="connsiteX1" fmla="*/ 10516 w 6482379"/>
              <a:gd name="connsiteY1" fmla="*/ 0 h 5911366"/>
              <a:gd name="connsiteX2" fmla="*/ 6482379 w 6482379"/>
              <a:gd name="connsiteY2" fmla="*/ 21 h 5911366"/>
              <a:gd name="connsiteX3" fmla="*/ 6482379 w 6482379"/>
              <a:gd name="connsiteY3" fmla="*/ 5911366 h 5911366"/>
              <a:gd name="connsiteX4" fmla="*/ 18079 w 6482379"/>
              <a:gd name="connsiteY4" fmla="*/ 5911366 h 5911366"/>
              <a:gd name="connsiteX5" fmla="*/ 5380 w 6482379"/>
              <a:gd name="connsiteY5" fmla="*/ 2732490 h 5911366"/>
              <a:gd name="connsiteX6" fmla="*/ 64 w 6482379"/>
              <a:gd name="connsiteY6" fmla="*/ 2599583 h 5911366"/>
              <a:gd name="connsiteX7" fmla="*/ 8563 w 6482379"/>
              <a:gd name="connsiteY7" fmla="*/ 935886 h 5911366"/>
              <a:gd name="connsiteX0" fmla="*/ 14065 w 6487881"/>
              <a:gd name="connsiteY0" fmla="*/ 935886 h 5911366"/>
              <a:gd name="connsiteX1" fmla="*/ 16018 w 6487881"/>
              <a:gd name="connsiteY1" fmla="*/ 0 h 5911366"/>
              <a:gd name="connsiteX2" fmla="*/ 6487881 w 6487881"/>
              <a:gd name="connsiteY2" fmla="*/ 21 h 5911366"/>
              <a:gd name="connsiteX3" fmla="*/ 6487881 w 6487881"/>
              <a:gd name="connsiteY3" fmla="*/ 5911366 h 5911366"/>
              <a:gd name="connsiteX4" fmla="*/ 23581 w 6487881"/>
              <a:gd name="connsiteY4" fmla="*/ 5911366 h 5911366"/>
              <a:gd name="connsiteX5" fmla="*/ 10882 w 6487881"/>
              <a:gd name="connsiteY5" fmla="*/ 2732490 h 5911366"/>
              <a:gd name="connsiteX6" fmla="*/ 5566 w 6487881"/>
              <a:gd name="connsiteY6" fmla="*/ 2599583 h 5911366"/>
              <a:gd name="connsiteX7" fmla="*/ 250 w 6487881"/>
              <a:gd name="connsiteY7" fmla="*/ 2067955 h 5911366"/>
              <a:gd name="connsiteX8" fmla="*/ 14065 w 6487881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89335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893356 h 5911366"/>
              <a:gd name="connsiteX0" fmla="*/ 3201 w 6477017"/>
              <a:gd name="connsiteY0" fmla="*/ 893356 h 5911366"/>
              <a:gd name="connsiteX1" fmla="*/ 5154 w 6477017"/>
              <a:gd name="connsiteY1" fmla="*/ 0 h 5911366"/>
              <a:gd name="connsiteX2" fmla="*/ 6477017 w 6477017"/>
              <a:gd name="connsiteY2" fmla="*/ 21 h 5911366"/>
              <a:gd name="connsiteX3" fmla="*/ 6477017 w 6477017"/>
              <a:gd name="connsiteY3" fmla="*/ 5911366 h 5911366"/>
              <a:gd name="connsiteX4" fmla="*/ 12717 w 6477017"/>
              <a:gd name="connsiteY4" fmla="*/ 5911366 h 5911366"/>
              <a:gd name="connsiteX5" fmla="*/ 18 w 6477017"/>
              <a:gd name="connsiteY5" fmla="*/ 2732490 h 5911366"/>
              <a:gd name="connsiteX6" fmla="*/ 382790 w 6477017"/>
              <a:gd name="connsiteY6" fmla="*/ 2487941 h 5911366"/>
              <a:gd name="connsiteX7" fmla="*/ 398739 w 6477017"/>
              <a:gd name="connsiteY7" fmla="*/ 1286462 h 5911366"/>
              <a:gd name="connsiteX8" fmla="*/ 3201 w 6477017"/>
              <a:gd name="connsiteY8" fmla="*/ 893356 h 5911366"/>
              <a:gd name="connsiteX0" fmla="*/ 8517 w 6482333"/>
              <a:gd name="connsiteY0" fmla="*/ 893356 h 5911366"/>
              <a:gd name="connsiteX1" fmla="*/ 10470 w 6482333"/>
              <a:gd name="connsiteY1" fmla="*/ 0 h 5911366"/>
              <a:gd name="connsiteX2" fmla="*/ 6482333 w 6482333"/>
              <a:gd name="connsiteY2" fmla="*/ 21 h 5911366"/>
              <a:gd name="connsiteX3" fmla="*/ 6482333 w 6482333"/>
              <a:gd name="connsiteY3" fmla="*/ 5911366 h 5911366"/>
              <a:gd name="connsiteX4" fmla="*/ 18033 w 6482333"/>
              <a:gd name="connsiteY4" fmla="*/ 5911366 h 5911366"/>
              <a:gd name="connsiteX5" fmla="*/ 17 w 6482333"/>
              <a:gd name="connsiteY5" fmla="*/ 2913244 h 5911366"/>
              <a:gd name="connsiteX6" fmla="*/ 388106 w 6482333"/>
              <a:gd name="connsiteY6" fmla="*/ 2487941 h 5911366"/>
              <a:gd name="connsiteX7" fmla="*/ 404055 w 6482333"/>
              <a:gd name="connsiteY7" fmla="*/ 1286462 h 5911366"/>
              <a:gd name="connsiteX8" fmla="*/ 8517 w 6482333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82316" h="5911366">
                <a:moveTo>
                  <a:pt x="8500" y="893356"/>
                </a:moveTo>
                <a:cubicBezTo>
                  <a:pt x="9256" y="579463"/>
                  <a:pt x="9697" y="313893"/>
                  <a:pt x="10453" y="0"/>
                </a:cubicBezTo>
                <a:lnTo>
                  <a:pt x="6482316" y="21"/>
                </a:lnTo>
                <a:lnTo>
                  <a:pt x="6482316" y="5911366"/>
                </a:lnTo>
                <a:lnTo>
                  <a:pt x="18016" y="5911366"/>
                </a:lnTo>
                <a:cubicBezTo>
                  <a:pt x="12404" y="4865874"/>
                  <a:pt x="6902" y="3554944"/>
                  <a:pt x="0" y="2902611"/>
                </a:cubicBezTo>
                <a:cubicBezTo>
                  <a:pt x="214965" y="2664307"/>
                  <a:pt x="137693" y="2760793"/>
                  <a:pt x="388089" y="2487941"/>
                </a:cubicBezTo>
                <a:cubicBezTo>
                  <a:pt x="386317" y="2377185"/>
                  <a:pt x="402622" y="1563745"/>
                  <a:pt x="404038" y="1286462"/>
                </a:cubicBezTo>
                <a:cubicBezTo>
                  <a:pt x="155589" y="1057025"/>
                  <a:pt x="266370" y="1158271"/>
                  <a:pt x="8500" y="893356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/>
          <a:lstStyle>
            <a:lvl1pPr marL="0" indent="0" algn="ctr">
              <a:buNone/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27">
            <a:extLst>
              <a:ext uri="{FF2B5EF4-FFF2-40B4-BE49-F238E27FC236}">
                <a16:creationId xmlns:a16="http://schemas.microsoft.com/office/drawing/2014/main" id="{E121F3AA-7EE4-1D4E-8E6A-093CB533C6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18444" y="5834587"/>
            <a:ext cx="1995565" cy="552266"/>
          </a:xfrm>
          <a:prstGeom prst="rect">
            <a:avLst/>
          </a:prstGeom>
        </p:spPr>
      </p:pic>
      <p:sp>
        <p:nvSpPr>
          <p:cNvPr id="15" name="Текст 15">
            <a:extLst>
              <a:ext uri="{FF2B5EF4-FFF2-40B4-BE49-F238E27FC236}">
                <a16:creationId xmlns:a16="http://schemas.microsoft.com/office/drawing/2014/main" id="{7905F689-0CF9-A745-AE92-8B52E9C233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7577" y="4326296"/>
            <a:ext cx="3698369" cy="4220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/>
            </a:lvl1pPr>
          </a:lstStyle>
          <a:p>
            <a:pPr lvl="0"/>
            <a:r>
              <a:rPr lang="ru-RU" dirty="0"/>
              <a:t>Фамилия Имя Отчество</a:t>
            </a:r>
          </a:p>
        </p:txBody>
      </p:sp>
      <p:sp>
        <p:nvSpPr>
          <p:cNvPr id="17" name="Текст 19">
            <a:extLst>
              <a:ext uri="{FF2B5EF4-FFF2-40B4-BE49-F238E27FC236}">
                <a16:creationId xmlns:a16="http://schemas.microsoft.com/office/drawing/2014/main" id="{8009559F-3398-7A4C-B5E4-58328A18C4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329" y="4693411"/>
            <a:ext cx="3716617" cy="90539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i="1" baseline="0"/>
            </a:lvl1pPr>
          </a:lstStyle>
          <a:p>
            <a:pPr lvl="0"/>
            <a:r>
              <a:rPr lang="ru-RU" dirty="0"/>
              <a:t>Должность докладчика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18CB875-555C-7247-B364-7155F314A4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444" y="1680310"/>
            <a:ext cx="5046015" cy="11692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00"/>
              </a:lnSpc>
              <a:buNone/>
              <a:defRPr sz="40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ПРИМЕР ЗАГОЛОВКА НЕ БОЛЕЕ ДВУХ СТРОК</a:t>
            </a:r>
          </a:p>
        </p:txBody>
      </p:sp>
    </p:spTree>
    <p:extLst>
      <p:ext uri="{BB962C8B-B14F-4D97-AF65-F5344CB8AC3E}">
        <p14:creationId xmlns:p14="http://schemas.microsoft.com/office/powerpoint/2010/main" val="5915158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2"/>
          <p:cNvSpPr>
            <a:spLocks noGrp="1"/>
          </p:cNvSpPr>
          <p:nvPr>
            <p:ph type="pic" sz="quarter" idx="14" hasCustomPrompt="1"/>
          </p:nvPr>
        </p:nvSpPr>
        <p:spPr>
          <a:xfrm>
            <a:off x="5709684" y="478543"/>
            <a:ext cx="6482316" cy="5911366"/>
          </a:xfrm>
          <a:custGeom>
            <a:avLst/>
            <a:gdLst>
              <a:gd name="connsiteX0" fmla="*/ 0 w 6464300"/>
              <a:gd name="connsiteY0" fmla="*/ 0 h 5911345"/>
              <a:gd name="connsiteX1" fmla="*/ 6464300 w 6464300"/>
              <a:gd name="connsiteY1" fmla="*/ 0 h 5911345"/>
              <a:gd name="connsiteX2" fmla="*/ 6464300 w 6464300"/>
              <a:gd name="connsiteY2" fmla="*/ 5911345 h 5911345"/>
              <a:gd name="connsiteX3" fmla="*/ 0 w 6464300"/>
              <a:gd name="connsiteY3" fmla="*/ 5911345 h 5911345"/>
              <a:gd name="connsiteX4" fmla="*/ 0 w 6464300"/>
              <a:gd name="connsiteY4" fmla="*/ 0 h 5911345"/>
              <a:gd name="connsiteX0" fmla="*/ 0 w 6464300"/>
              <a:gd name="connsiteY0" fmla="*/ 16448 h 5927793"/>
              <a:gd name="connsiteX1" fmla="*/ 14339 w 6464300"/>
              <a:gd name="connsiteY1" fmla="*/ 0 h 5927793"/>
              <a:gd name="connsiteX2" fmla="*/ 6464300 w 6464300"/>
              <a:gd name="connsiteY2" fmla="*/ 16448 h 5927793"/>
              <a:gd name="connsiteX3" fmla="*/ 6464300 w 6464300"/>
              <a:gd name="connsiteY3" fmla="*/ 5927793 h 5927793"/>
              <a:gd name="connsiteX4" fmla="*/ 0 w 6464300"/>
              <a:gd name="connsiteY4" fmla="*/ 5927793 h 5927793"/>
              <a:gd name="connsiteX5" fmla="*/ 0 w 6464300"/>
              <a:gd name="connsiteY5" fmla="*/ 16448 h 5927793"/>
              <a:gd name="connsiteX0" fmla="*/ 0 w 6474132"/>
              <a:gd name="connsiteY0" fmla="*/ 980009 h 5927793"/>
              <a:gd name="connsiteX1" fmla="*/ 24171 w 6474132"/>
              <a:gd name="connsiteY1" fmla="*/ 0 h 5927793"/>
              <a:gd name="connsiteX2" fmla="*/ 6474132 w 6474132"/>
              <a:gd name="connsiteY2" fmla="*/ 16448 h 5927793"/>
              <a:gd name="connsiteX3" fmla="*/ 6474132 w 6474132"/>
              <a:gd name="connsiteY3" fmla="*/ 5927793 h 5927793"/>
              <a:gd name="connsiteX4" fmla="*/ 9832 w 6474132"/>
              <a:gd name="connsiteY4" fmla="*/ 5927793 h 5927793"/>
              <a:gd name="connsiteX5" fmla="*/ 0 w 6474132"/>
              <a:gd name="connsiteY5" fmla="*/ 980009 h 5927793"/>
              <a:gd name="connsiteX0" fmla="*/ 0 w 6474132"/>
              <a:gd name="connsiteY0" fmla="*/ 963561 h 5911345"/>
              <a:gd name="connsiteX1" fmla="*/ 2269 w 6474132"/>
              <a:gd name="connsiteY1" fmla="*/ 21881 h 5911345"/>
              <a:gd name="connsiteX2" fmla="*/ 6474132 w 6474132"/>
              <a:gd name="connsiteY2" fmla="*/ 0 h 5911345"/>
              <a:gd name="connsiteX3" fmla="*/ 6474132 w 6474132"/>
              <a:gd name="connsiteY3" fmla="*/ 5911345 h 5911345"/>
              <a:gd name="connsiteX4" fmla="*/ 9832 w 6474132"/>
              <a:gd name="connsiteY4" fmla="*/ 5911345 h 5911345"/>
              <a:gd name="connsiteX5" fmla="*/ 0 w 6474132"/>
              <a:gd name="connsiteY5" fmla="*/ 963561 h 5911345"/>
              <a:gd name="connsiteX0" fmla="*/ 0 w 6474132"/>
              <a:gd name="connsiteY0" fmla="*/ 963582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63582 h 5911366"/>
              <a:gd name="connsiteX0" fmla="*/ 0 w 6474132"/>
              <a:gd name="connsiteY0" fmla="*/ 930729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30729 h 5911366"/>
              <a:gd name="connsiteX0" fmla="*/ 0 w 6474132"/>
              <a:gd name="connsiteY0" fmla="*/ 908827 h 5911366"/>
              <a:gd name="connsiteX1" fmla="*/ 2269 w 6474132"/>
              <a:gd name="connsiteY1" fmla="*/ 0 h 5911366"/>
              <a:gd name="connsiteX2" fmla="*/ 6474132 w 6474132"/>
              <a:gd name="connsiteY2" fmla="*/ 21 h 5911366"/>
              <a:gd name="connsiteX3" fmla="*/ 6474132 w 6474132"/>
              <a:gd name="connsiteY3" fmla="*/ 5911366 h 5911366"/>
              <a:gd name="connsiteX4" fmla="*/ 9832 w 6474132"/>
              <a:gd name="connsiteY4" fmla="*/ 5911366 h 5911366"/>
              <a:gd name="connsiteX5" fmla="*/ 0 w 6474132"/>
              <a:gd name="connsiteY5" fmla="*/ 908827 h 5911366"/>
              <a:gd name="connsiteX0" fmla="*/ 14184 w 6471890"/>
              <a:gd name="connsiteY0" fmla="*/ 930729 h 5911366"/>
              <a:gd name="connsiteX1" fmla="*/ 27 w 6471890"/>
              <a:gd name="connsiteY1" fmla="*/ 0 h 5911366"/>
              <a:gd name="connsiteX2" fmla="*/ 6471890 w 6471890"/>
              <a:gd name="connsiteY2" fmla="*/ 21 h 5911366"/>
              <a:gd name="connsiteX3" fmla="*/ 6471890 w 6471890"/>
              <a:gd name="connsiteY3" fmla="*/ 5911366 h 5911366"/>
              <a:gd name="connsiteX4" fmla="*/ 7590 w 6471890"/>
              <a:gd name="connsiteY4" fmla="*/ 5911366 h 5911366"/>
              <a:gd name="connsiteX5" fmla="*/ 14184 w 6471890"/>
              <a:gd name="connsiteY5" fmla="*/ 930729 h 5911366"/>
              <a:gd name="connsiteX0" fmla="*/ 68918 w 6471870"/>
              <a:gd name="connsiteY0" fmla="*/ 919778 h 5911366"/>
              <a:gd name="connsiteX1" fmla="*/ 7 w 6471870"/>
              <a:gd name="connsiteY1" fmla="*/ 0 h 5911366"/>
              <a:gd name="connsiteX2" fmla="*/ 6471870 w 6471870"/>
              <a:gd name="connsiteY2" fmla="*/ 21 h 5911366"/>
              <a:gd name="connsiteX3" fmla="*/ 6471870 w 6471870"/>
              <a:gd name="connsiteY3" fmla="*/ 5911366 h 5911366"/>
              <a:gd name="connsiteX4" fmla="*/ 7570 w 6471870"/>
              <a:gd name="connsiteY4" fmla="*/ 5911366 h 5911366"/>
              <a:gd name="connsiteX5" fmla="*/ 68918 w 6471870"/>
              <a:gd name="connsiteY5" fmla="*/ 919778 h 5911366"/>
              <a:gd name="connsiteX0" fmla="*/ 3287 w 6471945"/>
              <a:gd name="connsiteY0" fmla="*/ 947155 h 5911366"/>
              <a:gd name="connsiteX1" fmla="*/ 82 w 6471945"/>
              <a:gd name="connsiteY1" fmla="*/ 0 h 5911366"/>
              <a:gd name="connsiteX2" fmla="*/ 6471945 w 6471945"/>
              <a:gd name="connsiteY2" fmla="*/ 21 h 5911366"/>
              <a:gd name="connsiteX3" fmla="*/ 6471945 w 6471945"/>
              <a:gd name="connsiteY3" fmla="*/ 5911366 h 5911366"/>
              <a:gd name="connsiteX4" fmla="*/ 7645 w 6471945"/>
              <a:gd name="connsiteY4" fmla="*/ 5911366 h 5911366"/>
              <a:gd name="connsiteX5" fmla="*/ 3287 w 6471945"/>
              <a:gd name="connsiteY5" fmla="*/ 947155 h 5911366"/>
              <a:gd name="connsiteX0" fmla="*/ 0 w 6474134"/>
              <a:gd name="connsiteY0" fmla="*/ 914302 h 5911366"/>
              <a:gd name="connsiteX1" fmla="*/ 2271 w 6474134"/>
              <a:gd name="connsiteY1" fmla="*/ 0 h 5911366"/>
              <a:gd name="connsiteX2" fmla="*/ 6474134 w 6474134"/>
              <a:gd name="connsiteY2" fmla="*/ 21 h 5911366"/>
              <a:gd name="connsiteX3" fmla="*/ 6474134 w 6474134"/>
              <a:gd name="connsiteY3" fmla="*/ 5911366 h 5911366"/>
              <a:gd name="connsiteX4" fmla="*/ 9834 w 6474134"/>
              <a:gd name="connsiteY4" fmla="*/ 5911366 h 5911366"/>
              <a:gd name="connsiteX5" fmla="*/ 0 w 6474134"/>
              <a:gd name="connsiteY5" fmla="*/ 914302 h 5911366"/>
              <a:gd name="connsiteX0" fmla="*/ 8721 w 6471904"/>
              <a:gd name="connsiteY0" fmla="*/ 925253 h 5911366"/>
              <a:gd name="connsiteX1" fmla="*/ 41 w 6471904"/>
              <a:gd name="connsiteY1" fmla="*/ 0 h 5911366"/>
              <a:gd name="connsiteX2" fmla="*/ 6471904 w 6471904"/>
              <a:gd name="connsiteY2" fmla="*/ 21 h 5911366"/>
              <a:gd name="connsiteX3" fmla="*/ 6471904 w 6471904"/>
              <a:gd name="connsiteY3" fmla="*/ 5911366 h 5911366"/>
              <a:gd name="connsiteX4" fmla="*/ 7604 w 6471904"/>
              <a:gd name="connsiteY4" fmla="*/ 5911366 h 5911366"/>
              <a:gd name="connsiteX5" fmla="*/ 8721 w 6471904"/>
              <a:gd name="connsiteY5" fmla="*/ 925253 h 5911366"/>
              <a:gd name="connsiteX0" fmla="*/ 0 w 6473816"/>
              <a:gd name="connsiteY0" fmla="*/ 935886 h 5911366"/>
              <a:gd name="connsiteX1" fmla="*/ 1953 w 6473816"/>
              <a:gd name="connsiteY1" fmla="*/ 0 h 5911366"/>
              <a:gd name="connsiteX2" fmla="*/ 6473816 w 6473816"/>
              <a:gd name="connsiteY2" fmla="*/ 21 h 5911366"/>
              <a:gd name="connsiteX3" fmla="*/ 6473816 w 6473816"/>
              <a:gd name="connsiteY3" fmla="*/ 5911366 h 5911366"/>
              <a:gd name="connsiteX4" fmla="*/ 9516 w 6473816"/>
              <a:gd name="connsiteY4" fmla="*/ 5911366 h 5911366"/>
              <a:gd name="connsiteX5" fmla="*/ 0 w 6473816"/>
              <a:gd name="connsiteY5" fmla="*/ 935886 h 5911366"/>
              <a:gd name="connsiteX0" fmla="*/ 473219 w 6947035"/>
              <a:gd name="connsiteY0" fmla="*/ 935886 h 5911366"/>
              <a:gd name="connsiteX1" fmla="*/ 475172 w 6947035"/>
              <a:gd name="connsiteY1" fmla="*/ 0 h 5911366"/>
              <a:gd name="connsiteX2" fmla="*/ 6947035 w 6947035"/>
              <a:gd name="connsiteY2" fmla="*/ 21 h 5911366"/>
              <a:gd name="connsiteX3" fmla="*/ 6947035 w 6947035"/>
              <a:gd name="connsiteY3" fmla="*/ 5911366 h 5911366"/>
              <a:gd name="connsiteX4" fmla="*/ 482735 w 6947035"/>
              <a:gd name="connsiteY4" fmla="*/ 5911366 h 5911366"/>
              <a:gd name="connsiteX5" fmla="*/ 470036 w 6947035"/>
              <a:gd name="connsiteY5" fmla="*/ 2732490 h 5911366"/>
              <a:gd name="connsiteX6" fmla="*/ 473219 w 6947035"/>
              <a:gd name="connsiteY6" fmla="*/ 935886 h 5911366"/>
              <a:gd name="connsiteX0" fmla="*/ 472029 w 6945845"/>
              <a:gd name="connsiteY0" fmla="*/ 935886 h 5911366"/>
              <a:gd name="connsiteX1" fmla="*/ 473982 w 6945845"/>
              <a:gd name="connsiteY1" fmla="*/ 0 h 5911366"/>
              <a:gd name="connsiteX2" fmla="*/ 6945845 w 6945845"/>
              <a:gd name="connsiteY2" fmla="*/ 21 h 5911366"/>
              <a:gd name="connsiteX3" fmla="*/ 6945845 w 6945845"/>
              <a:gd name="connsiteY3" fmla="*/ 5911366 h 5911366"/>
              <a:gd name="connsiteX4" fmla="*/ 481545 w 6945845"/>
              <a:gd name="connsiteY4" fmla="*/ 5911366 h 5911366"/>
              <a:gd name="connsiteX5" fmla="*/ 468846 w 6945845"/>
              <a:gd name="connsiteY5" fmla="*/ 2732490 h 5911366"/>
              <a:gd name="connsiteX6" fmla="*/ 472029 w 6945845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3558 w 6477374"/>
              <a:gd name="connsiteY0" fmla="*/ 935886 h 5911366"/>
              <a:gd name="connsiteX1" fmla="*/ 5511 w 6477374"/>
              <a:gd name="connsiteY1" fmla="*/ 0 h 5911366"/>
              <a:gd name="connsiteX2" fmla="*/ 6477374 w 6477374"/>
              <a:gd name="connsiteY2" fmla="*/ 21 h 5911366"/>
              <a:gd name="connsiteX3" fmla="*/ 6477374 w 6477374"/>
              <a:gd name="connsiteY3" fmla="*/ 5911366 h 5911366"/>
              <a:gd name="connsiteX4" fmla="*/ 13074 w 6477374"/>
              <a:gd name="connsiteY4" fmla="*/ 5911366 h 5911366"/>
              <a:gd name="connsiteX5" fmla="*/ 375 w 6477374"/>
              <a:gd name="connsiteY5" fmla="*/ 2732490 h 5911366"/>
              <a:gd name="connsiteX6" fmla="*/ 3558 w 6477374"/>
              <a:gd name="connsiteY6" fmla="*/ 935886 h 5911366"/>
              <a:gd name="connsiteX0" fmla="*/ 8563 w 6482379"/>
              <a:gd name="connsiteY0" fmla="*/ 935886 h 5911366"/>
              <a:gd name="connsiteX1" fmla="*/ 10516 w 6482379"/>
              <a:gd name="connsiteY1" fmla="*/ 0 h 5911366"/>
              <a:gd name="connsiteX2" fmla="*/ 6482379 w 6482379"/>
              <a:gd name="connsiteY2" fmla="*/ 21 h 5911366"/>
              <a:gd name="connsiteX3" fmla="*/ 6482379 w 6482379"/>
              <a:gd name="connsiteY3" fmla="*/ 5911366 h 5911366"/>
              <a:gd name="connsiteX4" fmla="*/ 18079 w 6482379"/>
              <a:gd name="connsiteY4" fmla="*/ 5911366 h 5911366"/>
              <a:gd name="connsiteX5" fmla="*/ 5380 w 6482379"/>
              <a:gd name="connsiteY5" fmla="*/ 2732490 h 5911366"/>
              <a:gd name="connsiteX6" fmla="*/ 64 w 6482379"/>
              <a:gd name="connsiteY6" fmla="*/ 2599583 h 5911366"/>
              <a:gd name="connsiteX7" fmla="*/ 8563 w 6482379"/>
              <a:gd name="connsiteY7" fmla="*/ 935886 h 5911366"/>
              <a:gd name="connsiteX0" fmla="*/ 14065 w 6487881"/>
              <a:gd name="connsiteY0" fmla="*/ 935886 h 5911366"/>
              <a:gd name="connsiteX1" fmla="*/ 16018 w 6487881"/>
              <a:gd name="connsiteY1" fmla="*/ 0 h 5911366"/>
              <a:gd name="connsiteX2" fmla="*/ 6487881 w 6487881"/>
              <a:gd name="connsiteY2" fmla="*/ 21 h 5911366"/>
              <a:gd name="connsiteX3" fmla="*/ 6487881 w 6487881"/>
              <a:gd name="connsiteY3" fmla="*/ 5911366 h 5911366"/>
              <a:gd name="connsiteX4" fmla="*/ 23581 w 6487881"/>
              <a:gd name="connsiteY4" fmla="*/ 5911366 h 5911366"/>
              <a:gd name="connsiteX5" fmla="*/ 10882 w 6487881"/>
              <a:gd name="connsiteY5" fmla="*/ 2732490 h 5911366"/>
              <a:gd name="connsiteX6" fmla="*/ 5566 w 6487881"/>
              <a:gd name="connsiteY6" fmla="*/ 2599583 h 5911366"/>
              <a:gd name="connsiteX7" fmla="*/ 250 w 6487881"/>
              <a:gd name="connsiteY7" fmla="*/ 2067955 h 5911366"/>
              <a:gd name="connsiteX8" fmla="*/ 14065 w 6487881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398786 w 6482380"/>
              <a:gd name="connsiteY7" fmla="*/ 1307727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93588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935886 h 5911366"/>
              <a:gd name="connsiteX0" fmla="*/ 8564 w 6482380"/>
              <a:gd name="connsiteY0" fmla="*/ 893356 h 5911366"/>
              <a:gd name="connsiteX1" fmla="*/ 10517 w 6482380"/>
              <a:gd name="connsiteY1" fmla="*/ 0 h 5911366"/>
              <a:gd name="connsiteX2" fmla="*/ 6482380 w 6482380"/>
              <a:gd name="connsiteY2" fmla="*/ 21 h 5911366"/>
              <a:gd name="connsiteX3" fmla="*/ 6482380 w 6482380"/>
              <a:gd name="connsiteY3" fmla="*/ 5911366 h 5911366"/>
              <a:gd name="connsiteX4" fmla="*/ 18080 w 6482380"/>
              <a:gd name="connsiteY4" fmla="*/ 5911366 h 5911366"/>
              <a:gd name="connsiteX5" fmla="*/ 5381 w 6482380"/>
              <a:gd name="connsiteY5" fmla="*/ 2732490 h 5911366"/>
              <a:gd name="connsiteX6" fmla="*/ 65 w 6482380"/>
              <a:gd name="connsiteY6" fmla="*/ 2599583 h 5911366"/>
              <a:gd name="connsiteX7" fmla="*/ 404102 w 6482380"/>
              <a:gd name="connsiteY7" fmla="*/ 1286462 h 5911366"/>
              <a:gd name="connsiteX8" fmla="*/ 8564 w 6482380"/>
              <a:gd name="connsiteY8" fmla="*/ 893356 h 5911366"/>
              <a:gd name="connsiteX0" fmla="*/ 3201 w 6477017"/>
              <a:gd name="connsiteY0" fmla="*/ 893356 h 5911366"/>
              <a:gd name="connsiteX1" fmla="*/ 5154 w 6477017"/>
              <a:gd name="connsiteY1" fmla="*/ 0 h 5911366"/>
              <a:gd name="connsiteX2" fmla="*/ 6477017 w 6477017"/>
              <a:gd name="connsiteY2" fmla="*/ 21 h 5911366"/>
              <a:gd name="connsiteX3" fmla="*/ 6477017 w 6477017"/>
              <a:gd name="connsiteY3" fmla="*/ 5911366 h 5911366"/>
              <a:gd name="connsiteX4" fmla="*/ 12717 w 6477017"/>
              <a:gd name="connsiteY4" fmla="*/ 5911366 h 5911366"/>
              <a:gd name="connsiteX5" fmla="*/ 18 w 6477017"/>
              <a:gd name="connsiteY5" fmla="*/ 2732490 h 5911366"/>
              <a:gd name="connsiteX6" fmla="*/ 382790 w 6477017"/>
              <a:gd name="connsiteY6" fmla="*/ 2487941 h 5911366"/>
              <a:gd name="connsiteX7" fmla="*/ 398739 w 6477017"/>
              <a:gd name="connsiteY7" fmla="*/ 1286462 h 5911366"/>
              <a:gd name="connsiteX8" fmla="*/ 3201 w 6477017"/>
              <a:gd name="connsiteY8" fmla="*/ 893356 h 5911366"/>
              <a:gd name="connsiteX0" fmla="*/ 8517 w 6482333"/>
              <a:gd name="connsiteY0" fmla="*/ 893356 h 5911366"/>
              <a:gd name="connsiteX1" fmla="*/ 10470 w 6482333"/>
              <a:gd name="connsiteY1" fmla="*/ 0 h 5911366"/>
              <a:gd name="connsiteX2" fmla="*/ 6482333 w 6482333"/>
              <a:gd name="connsiteY2" fmla="*/ 21 h 5911366"/>
              <a:gd name="connsiteX3" fmla="*/ 6482333 w 6482333"/>
              <a:gd name="connsiteY3" fmla="*/ 5911366 h 5911366"/>
              <a:gd name="connsiteX4" fmla="*/ 18033 w 6482333"/>
              <a:gd name="connsiteY4" fmla="*/ 5911366 h 5911366"/>
              <a:gd name="connsiteX5" fmla="*/ 17 w 6482333"/>
              <a:gd name="connsiteY5" fmla="*/ 2913244 h 5911366"/>
              <a:gd name="connsiteX6" fmla="*/ 388106 w 6482333"/>
              <a:gd name="connsiteY6" fmla="*/ 2487941 h 5911366"/>
              <a:gd name="connsiteX7" fmla="*/ 404055 w 6482333"/>
              <a:gd name="connsiteY7" fmla="*/ 1286462 h 5911366"/>
              <a:gd name="connsiteX8" fmla="*/ 8517 w 6482333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13244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  <a:gd name="connsiteX0" fmla="*/ 8500 w 6482316"/>
              <a:gd name="connsiteY0" fmla="*/ 893356 h 5911366"/>
              <a:gd name="connsiteX1" fmla="*/ 10453 w 6482316"/>
              <a:gd name="connsiteY1" fmla="*/ 0 h 5911366"/>
              <a:gd name="connsiteX2" fmla="*/ 6482316 w 6482316"/>
              <a:gd name="connsiteY2" fmla="*/ 21 h 5911366"/>
              <a:gd name="connsiteX3" fmla="*/ 6482316 w 6482316"/>
              <a:gd name="connsiteY3" fmla="*/ 5911366 h 5911366"/>
              <a:gd name="connsiteX4" fmla="*/ 18016 w 6482316"/>
              <a:gd name="connsiteY4" fmla="*/ 5911366 h 5911366"/>
              <a:gd name="connsiteX5" fmla="*/ 0 w 6482316"/>
              <a:gd name="connsiteY5" fmla="*/ 2902611 h 5911366"/>
              <a:gd name="connsiteX6" fmla="*/ 388089 w 6482316"/>
              <a:gd name="connsiteY6" fmla="*/ 2487941 h 5911366"/>
              <a:gd name="connsiteX7" fmla="*/ 404038 w 6482316"/>
              <a:gd name="connsiteY7" fmla="*/ 1286462 h 5911366"/>
              <a:gd name="connsiteX8" fmla="*/ 8500 w 6482316"/>
              <a:gd name="connsiteY8" fmla="*/ 893356 h 5911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82316" h="5911366">
                <a:moveTo>
                  <a:pt x="8500" y="893356"/>
                </a:moveTo>
                <a:cubicBezTo>
                  <a:pt x="9256" y="579463"/>
                  <a:pt x="9697" y="313893"/>
                  <a:pt x="10453" y="0"/>
                </a:cubicBezTo>
                <a:lnTo>
                  <a:pt x="6482316" y="21"/>
                </a:lnTo>
                <a:lnTo>
                  <a:pt x="6482316" y="5911366"/>
                </a:lnTo>
                <a:lnTo>
                  <a:pt x="18016" y="5911366"/>
                </a:lnTo>
                <a:cubicBezTo>
                  <a:pt x="12404" y="4865874"/>
                  <a:pt x="6902" y="3554944"/>
                  <a:pt x="0" y="2902611"/>
                </a:cubicBezTo>
                <a:cubicBezTo>
                  <a:pt x="214965" y="2664307"/>
                  <a:pt x="137693" y="2760793"/>
                  <a:pt x="388089" y="2487941"/>
                </a:cubicBezTo>
                <a:cubicBezTo>
                  <a:pt x="386317" y="2377185"/>
                  <a:pt x="402622" y="1563745"/>
                  <a:pt x="404038" y="1286462"/>
                </a:cubicBezTo>
                <a:cubicBezTo>
                  <a:pt x="155589" y="1057025"/>
                  <a:pt x="266370" y="1158271"/>
                  <a:pt x="8500" y="893356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/>
          <a:lstStyle>
            <a:lvl1pPr marL="0" indent="0" algn="ctr">
              <a:buNone/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Добавьте изображение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2286" y="5834587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 userDrawn="1"/>
        </p:nvCxnSpPr>
        <p:spPr>
          <a:xfrm>
            <a:off x="6092286" y="165306"/>
            <a:ext cx="0" cy="843395"/>
          </a:xfrm>
          <a:prstGeom prst="line">
            <a:avLst/>
          </a:prstGeom>
          <a:ln w="8255">
            <a:solidFill>
              <a:srgbClr val="80B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507208" y="4458486"/>
            <a:ext cx="4877592" cy="90539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i="1" baseline="0"/>
            </a:lvl1pPr>
          </a:lstStyle>
          <a:p>
            <a:pPr lvl="0"/>
            <a:r>
              <a:rPr lang="ru-RU"/>
              <a:t>Сентябрь 2021</a:t>
            </a:r>
            <a:endParaRPr lang="ru-RU" dirty="0"/>
          </a:p>
        </p:txBody>
      </p:sp>
      <p:pic>
        <p:nvPicPr>
          <p:cNvPr id="13" name="Рисунок 27">
            <a:extLst>
              <a:ext uri="{FF2B5EF4-FFF2-40B4-BE49-F238E27FC236}">
                <a16:creationId xmlns:a16="http://schemas.microsoft.com/office/drawing/2014/main" id="{9B4DFD87-C9EC-134C-8F6B-768EAABDA1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18444" y="5834587"/>
            <a:ext cx="1995565" cy="55226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B0D676D-40F8-BE4B-B4B6-F0AC7AD6EC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444" y="1680310"/>
            <a:ext cx="5046015" cy="11692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00"/>
              </a:lnSpc>
              <a:buNone/>
              <a:defRPr sz="4000" b="0" i="0">
                <a:solidFill>
                  <a:srgbClr val="80BC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ПРИМЕР ЗАГОЛОВКА НЕ БОЛЕЕ ДВУХ СТРОК</a:t>
            </a:r>
          </a:p>
        </p:txBody>
      </p:sp>
    </p:spTree>
    <p:extLst>
      <p:ext uri="{BB962C8B-B14F-4D97-AF65-F5344CB8AC3E}">
        <p14:creationId xmlns:p14="http://schemas.microsoft.com/office/powerpoint/2010/main" val="19255059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3247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75" r:id="rId2"/>
    <p:sldLayoutId id="2147483676" r:id="rId3"/>
    <p:sldLayoutId id="2147483677" r:id="rId4"/>
    <p:sldLayoutId id="2147483678" r:id="rId5"/>
    <p:sldLayoutId id="2147483681" r:id="rId6"/>
    <p:sldLayoutId id="2147483682" r:id="rId7"/>
    <p:sldLayoutId id="2147483683" r:id="rId8"/>
    <p:sldLayoutId id="2147483684" r:id="rId9"/>
    <p:sldLayoutId id="2147483679" r:id="rId10"/>
    <p:sldLayoutId id="2147483680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49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4" r:id="rId29"/>
    <p:sldLayoutId id="2147483705" r:id="rId30"/>
    <p:sldLayoutId id="2147483706" r:id="rId31"/>
    <p:sldLayoutId id="2147483701" r:id="rId32"/>
    <p:sldLayoutId id="2147483703" r:id="rId33"/>
    <p:sldLayoutId id="2147483702" r:id="rId34"/>
    <p:sldLayoutId id="2147483707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3B90AB-5F18-3948-ABA2-C7130272EC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Пример подзаголовка не более трех строк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A4994DA-5DE5-314E-B569-A37AADA837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9113" y="1679575"/>
            <a:ext cx="5045075" cy="1169988"/>
          </a:xfrm>
        </p:spPr>
        <p:txBody>
          <a:bodyPr/>
          <a:lstStyle/>
          <a:p>
            <a:r>
              <a:rPr lang="ru-RU" dirty="0"/>
              <a:t>ЗАГОЛОВОК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4979765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1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20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А</a:t>
            </a:r>
          </a:p>
          <a:p>
            <a:endParaRPr lang="ru-RU" dirty="0"/>
          </a:p>
        </p:txBody>
      </p:sp>
      <p:graphicFrame>
        <p:nvGraphicFramePr>
          <p:cNvPr id="6" name="Table Option 1">
            <a:extLst>
              <a:ext uri="{FF2B5EF4-FFF2-40B4-BE49-F238E27FC236}">
                <a16:creationId xmlns:a16="http://schemas.microsoft.com/office/drawing/2014/main" id="{23B060D9-13A3-42A6-ACE0-228D706560DC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3458617"/>
              </p:ext>
            </p:extLst>
          </p:nvPr>
        </p:nvGraphicFramePr>
        <p:xfrm>
          <a:off x="587374" y="1653119"/>
          <a:ext cx="11126260" cy="403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892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15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727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7274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r>
                        <a:rPr lang="ru-RU" sz="1600" b="0" spc="-150" baseline="0" dirty="0">
                          <a:solidFill>
                            <a:schemeClr val="accent3"/>
                          </a:solidFill>
                        </a:rPr>
                        <a:t>ЗАГОЛОВОК</a:t>
                      </a: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spc="-150" baseline="0" dirty="0">
                          <a:solidFill>
                            <a:schemeClr val="accent3"/>
                          </a:solidFill>
                        </a:rPr>
                        <a:t>ЗАГОЛОВОК</a:t>
                      </a: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spc="-150" baseline="0" dirty="0">
                          <a:solidFill>
                            <a:schemeClr val="accent3"/>
                          </a:solidFill>
                        </a:rPr>
                        <a:t>ЗАГОЛОВОК</a:t>
                      </a: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spc="-150" baseline="0" dirty="0">
                          <a:solidFill>
                            <a:schemeClr val="accent3"/>
                          </a:solidFill>
                        </a:rPr>
                        <a:t>ЗАГОЛОВОК</a:t>
                      </a: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400" b="0" spc="0" baseline="0" dirty="0">
                          <a:solidFill>
                            <a:schemeClr val="dk1"/>
                          </a:solidFill>
                          <a:latin typeface="Arial"/>
                          <a:cs typeface="Arial"/>
                        </a:rPr>
                        <a:t>Текст</a:t>
                      </a:r>
                      <a:endParaRPr lang="en-MY" sz="1400" b="0" spc="0" baseline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6000" marR="96000" marT="96000" marB="9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3503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1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20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А</a:t>
            </a:r>
          </a:p>
          <a:p>
            <a:endParaRPr lang="ru-RU" dirty="0"/>
          </a:p>
        </p:txBody>
      </p:sp>
      <p:sp>
        <p:nvSpPr>
          <p:cNvPr id="17" name="Rechteck 10"/>
          <p:cNvSpPr/>
          <p:nvPr/>
        </p:nvSpPr>
        <p:spPr bwMode="gray">
          <a:xfrm>
            <a:off x="1487488" y="3716915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8" name="Rechteck 11"/>
          <p:cNvSpPr/>
          <p:nvPr/>
        </p:nvSpPr>
        <p:spPr bwMode="gray">
          <a:xfrm>
            <a:off x="3071824" y="3716915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" name="Rechteck 12"/>
          <p:cNvSpPr/>
          <p:nvPr/>
        </p:nvSpPr>
        <p:spPr bwMode="gray">
          <a:xfrm>
            <a:off x="4656000" y="3716915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0" name="Rechteck 13"/>
          <p:cNvSpPr/>
          <p:nvPr/>
        </p:nvSpPr>
        <p:spPr bwMode="gray">
          <a:xfrm>
            <a:off x="6240016" y="3716915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1" name="Rechteck 14"/>
          <p:cNvSpPr/>
          <p:nvPr/>
        </p:nvSpPr>
        <p:spPr bwMode="gray">
          <a:xfrm>
            <a:off x="7824352" y="3716915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2" name="Rechteck 15"/>
          <p:cNvSpPr/>
          <p:nvPr/>
        </p:nvSpPr>
        <p:spPr bwMode="gray">
          <a:xfrm>
            <a:off x="9408528" y="3716915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3" name="Rechteck 16"/>
          <p:cNvSpPr/>
          <p:nvPr/>
        </p:nvSpPr>
        <p:spPr bwMode="gray">
          <a:xfrm>
            <a:off x="1487510" y="4197011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4" name="Rechteck 17"/>
          <p:cNvSpPr/>
          <p:nvPr/>
        </p:nvSpPr>
        <p:spPr bwMode="gray">
          <a:xfrm>
            <a:off x="3071846" y="4197011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5" name="Rechteck 18"/>
          <p:cNvSpPr/>
          <p:nvPr/>
        </p:nvSpPr>
        <p:spPr bwMode="gray">
          <a:xfrm>
            <a:off x="4656022" y="4197011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6" name="Rechteck 19"/>
          <p:cNvSpPr/>
          <p:nvPr/>
        </p:nvSpPr>
        <p:spPr bwMode="gray">
          <a:xfrm>
            <a:off x="6240038" y="4197011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7" name="Rechteck 20"/>
          <p:cNvSpPr/>
          <p:nvPr/>
        </p:nvSpPr>
        <p:spPr bwMode="gray">
          <a:xfrm>
            <a:off x="7824374" y="4197011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8" name="Rechteck 21"/>
          <p:cNvSpPr/>
          <p:nvPr/>
        </p:nvSpPr>
        <p:spPr bwMode="gray">
          <a:xfrm>
            <a:off x="9408550" y="4197011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9" name="Rechteck 22"/>
          <p:cNvSpPr/>
          <p:nvPr/>
        </p:nvSpPr>
        <p:spPr bwMode="gray">
          <a:xfrm>
            <a:off x="1487531" y="4677181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0" name="Rechteck 23"/>
          <p:cNvSpPr/>
          <p:nvPr/>
        </p:nvSpPr>
        <p:spPr bwMode="gray">
          <a:xfrm>
            <a:off x="3071867" y="4677181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1" name="Rechteck 24"/>
          <p:cNvSpPr/>
          <p:nvPr/>
        </p:nvSpPr>
        <p:spPr bwMode="gray">
          <a:xfrm>
            <a:off x="4656043" y="4677181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2" name="Rechteck 25"/>
          <p:cNvSpPr/>
          <p:nvPr/>
        </p:nvSpPr>
        <p:spPr bwMode="gray">
          <a:xfrm>
            <a:off x="6240059" y="4677181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3" name="Rechteck 26"/>
          <p:cNvSpPr/>
          <p:nvPr/>
        </p:nvSpPr>
        <p:spPr bwMode="gray">
          <a:xfrm>
            <a:off x="7824395" y="4677181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4" name="Rechteck 27"/>
          <p:cNvSpPr/>
          <p:nvPr/>
        </p:nvSpPr>
        <p:spPr bwMode="gray">
          <a:xfrm>
            <a:off x="9408571" y="4677181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5" name="Rechteck 34"/>
          <p:cNvSpPr/>
          <p:nvPr/>
        </p:nvSpPr>
        <p:spPr bwMode="gray">
          <a:xfrm>
            <a:off x="1487574" y="5157117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3071910" y="5157117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7" name="Rechteck 36"/>
          <p:cNvSpPr/>
          <p:nvPr/>
        </p:nvSpPr>
        <p:spPr bwMode="gray">
          <a:xfrm>
            <a:off x="4656086" y="5157117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6240102" y="5157117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9" name="Rechteck 38"/>
          <p:cNvSpPr/>
          <p:nvPr/>
        </p:nvSpPr>
        <p:spPr bwMode="gray">
          <a:xfrm>
            <a:off x="7824438" y="5157117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/>
        </p:nvSpPr>
        <p:spPr bwMode="gray">
          <a:xfrm>
            <a:off x="9408614" y="5157117"/>
            <a:ext cx="1343989" cy="38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1" name="Rechteck 40"/>
          <p:cNvSpPr/>
          <p:nvPr/>
        </p:nvSpPr>
        <p:spPr bwMode="gray">
          <a:xfrm>
            <a:off x="6231235" y="2276872"/>
            <a:ext cx="1592616" cy="4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4367989" y="2276925"/>
            <a:ext cx="1583995" cy="4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Текст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391477" y="1653117"/>
            <a:ext cx="9361040" cy="1967616"/>
            <a:chOff x="1391477" y="1653117"/>
            <a:chExt cx="9361040" cy="1967616"/>
          </a:xfrm>
          <a:solidFill>
            <a:schemeClr val="accent1"/>
          </a:solidFill>
        </p:grpSpPr>
        <p:sp>
          <p:nvSpPr>
            <p:cNvPr id="6" name="Rechteck 1"/>
            <p:cNvSpPr/>
            <p:nvPr/>
          </p:nvSpPr>
          <p:spPr bwMode="gray">
            <a:xfrm>
              <a:off x="4367989" y="1653117"/>
              <a:ext cx="3455862" cy="480000"/>
            </a:xfrm>
            <a:prstGeom prst="rect">
              <a:avLst/>
            </a:prstGeom>
            <a:grpFill/>
            <a:ln w="63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Текст</a:t>
              </a:r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7" name="Rechteck 4"/>
            <p:cNvSpPr/>
            <p:nvPr/>
          </p:nvSpPr>
          <p:spPr bwMode="gray">
            <a:xfrm>
              <a:off x="1391477" y="3140733"/>
              <a:ext cx="1440000" cy="480000"/>
            </a:xfrm>
            <a:prstGeom prst="rect">
              <a:avLst/>
            </a:prstGeom>
            <a:grpFill/>
            <a:ln w="63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Текст</a:t>
              </a:r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8" name="Rechteck 5"/>
            <p:cNvSpPr/>
            <p:nvPr/>
          </p:nvSpPr>
          <p:spPr bwMode="gray">
            <a:xfrm>
              <a:off x="2975813" y="3140733"/>
              <a:ext cx="1440000" cy="480000"/>
            </a:xfrm>
            <a:prstGeom prst="rect">
              <a:avLst/>
            </a:prstGeom>
            <a:grpFill/>
            <a:ln w="63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Текст</a:t>
              </a:r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2" name="Rechteck 6"/>
            <p:cNvSpPr/>
            <p:nvPr/>
          </p:nvSpPr>
          <p:spPr bwMode="gray">
            <a:xfrm>
              <a:off x="4559989" y="3140733"/>
              <a:ext cx="1440000" cy="480000"/>
            </a:xfrm>
            <a:prstGeom prst="rect">
              <a:avLst/>
            </a:prstGeom>
            <a:grpFill/>
            <a:ln w="63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Текст</a:t>
              </a:r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3" name="Rechteck 7"/>
            <p:cNvSpPr/>
            <p:nvPr/>
          </p:nvSpPr>
          <p:spPr bwMode="gray">
            <a:xfrm>
              <a:off x="6144005" y="3140733"/>
              <a:ext cx="1440000" cy="480000"/>
            </a:xfrm>
            <a:prstGeom prst="rect">
              <a:avLst/>
            </a:prstGeom>
            <a:grpFill/>
            <a:ln w="63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Текст</a:t>
              </a:r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5" name="Rechteck 8"/>
            <p:cNvSpPr/>
            <p:nvPr/>
          </p:nvSpPr>
          <p:spPr bwMode="gray">
            <a:xfrm>
              <a:off x="7728341" y="3140733"/>
              <a:ext cx="1440000" cy="480000"/>
            </a:xfrm>
            <a:prstGeom prst="rect">
              <a:avLst/>
            </a:prstGeom>
            <a:grpFill/>
            <a:ln w="63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Текст</a:t>
              </a:r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6" name="Rechteck 9"/>
            <p:cNvSpPr/>
            <p:nvPr/>
          </p:nvSpPr>
          <p:spPr bwMode="gray">
            <a:xfrm>
              <a:off x="9312517" y="3140733"/>
              <a:ext cx="1440000" cy="480000"/>
            </a:xfrm>
            <a:prstGeom prst="rect">
              <a:avLst/>
            </a:prstGeom>
            <a:grpFill/>
            <a:ln w="63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Текст</a:t>
              </a:r>
              <a:endParaRPr lang="de-DE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391477" y="2133117"/>
            <a:ext cx="8640960" cy="3216000"/>
            <a:chOff x="1391477" y="2133117"/>
            <a:chExt cx="8640960" cy="3216000"/>
          </a:xfrm>
        </p:grpSpPr>
        <p:sp>
          <p:nvSpPr>
            <p:cNvPr id="43" name="Rechteck 50"/>
            <p:cNvSpPr/>
            <p:nvPr/>
          </p:nvSpPr>
          <p:spPr bwMode="gray">
            <a:xfrm>
              <a:off x="2111557" y="2996835"/>
              <a:ext cx="7920880" cy="144016"/>
            </a:xfrm>
            <a:custGeom>
              <a:avLst/>
              <a:gdLst>
                <a:gd name="connsiteX0" fmla="*/ 0 w 5940660"/>
                <a:gd name="connsiteY0" fmla="*/ 0 h 108012"/>
                <a:gd name="connsiteX1" fmla="*/ 5940660 w 5940660"/>
                <a:gd name="connsiteY1" fmla="*/ 0 h 108012"/>
                <a:gd name="connsiteX2" fmla="*/ 5940660 w 5940660"/>
                <a:gd name="connsiteY2" fmla="*/ 108012 h 108012"/>
                <a:gd name="connsiteX3" fmla="*/ 0 w 5940660"/>
                <a:gd name="connsiteY3" fmla="*/ 108012 h 108012"/>
                <a:gd name="connsiteX4" fmla="*/ 0 w 5940660"/>
                <a:gd name="connsiteY4" fmla="*/ 0 h 108012"/>
                <a:gd name="connsiteX0" fmla="*/ 0 w 5940660"/>
                <a:gd name="connsiteY0" fmla="*/ 0 h 108012"/>
                <a:gd name="connsiteX1" fmla="*/ 5940660 w 5940660"/>
                <a:gd name="connsiteY1" fmla="*/ 0 h 108012"/>
                <a:gd name="connsiteX2" fmla="*/ 5940660 w 5940660"/>
                <a:gd name="connsiteY2" fmla="*/ 108012 h 108012"/>
                <a:gd name="connsiteX3" fmla="*/ 2981608 w 5940660"/>
                <a:gd name="connsiteY3" fmla="*/ 101184 h 108012"/>
                <a:gd name="connsiteX4" fmla="*/ 0 w 5940660"/>
                <a:gd name="connsiteY4" fmla="*/ 108012 h 108012"/>
                <a:gd name="connsiteX5" fmla="*/ 0 w 5940660"/>
                <a:gd name="connsiteY5" fmla="*/ 0 h 108012"/>
                <a:gd name="connsiteX0" fmla="*/ 2981608 w 5940660"/>
                <a:gd name="connsiteY0" fmla="*/ 101184 h 192624"/>
                <a:gd name="connsiteX1" fmla="*/ 0 w 5940660"/>
                <a:gd name="connsiteY1" fmla="*/ 108012 h 192624"/>
                <a:gd name="connsiteX2" fmla="*/ 0 w 5940660"/>
                <a:gd name="connsiteY2" fmla="*/ 0 h 192624"/>
                <a:gd name="connsiteX3" fmla="*/ 5940660 w 5940660"/>
                <a:gd name="connsiteY3" fmla="*/ 0 h 192624"/>
                <a:gd name="connsiteX4" fmla="*/ 5940660 w 5940660"/>
                <a:gd name="connsiteY4" fmla="*/ 108012 h 192624"/>
                <a:gd name="connsiteX5" fmla="*/ 3073048 w 5940660"/>
                <a:gd name="connsiteY5" fmla="*/ 192624 h 192624"/>
                <a:gd name="connsiteX0" fmla="*/ 2981608 w 5940660"/>
                <a:gd name="connsiteY0" fmla="*/ 101184 h 108012"/>
                <a:gd name="connsiteX1" fmla="*/ 0 w 5940660"/>
                <a:gd name="connsiteY1" fmla="*/ 108012 h 108012"/>
                <a:gd name="connsiteX2" fmla="*/ 0 w 5940660"/>
                <a:gd name="connsiteY2" fmla="*/ 0 h 108012"/>
                <a:gd name="connsiteX3" fmla="*/ 5940660 w 5940660"/>
                <a:gd name="connsiteY3" fmla="*/ 0 h 108012"/>
                <a:gd name="connsiteX4" fmla="*/ 5940660 w 5940660"/>
                <a:gd name="connsiteY4" fmla="*/ 108012 h 108012"/>
                <a:gd name="connsiteX0" fmla="*/ 0 w 5940660"/>
                <a:gd name="connsiteY0" fmla="*/ 108012 h 108012"/>
                <a:gd name="connsiteX1" fmla="*/ 0 w 5940660"/>
                <a:gd name="connsiteY1" fmla="*/ 0 h 108012"/>
                <a:gd name="connsiteX2" fmla="*/ 5940660 w 5940660"/>
                <a:gd name="connsiteY2" fmla="*/ 0 h 108012"/>
                <a:gd name="connsiteX3" fmla="*/ 5940660 w 5940660"/>
                <a:gd name="connsiteY3" fmla="*/ 108012 h 108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40660" h="108012">
                  <a:moveTo>
                    <a:pt x="0" y="108012"/>
                  </a:moveTo>
                  <a:lnTo>
                    <a:pt x="0" y="0"/>
                  </a:lnTo>
                  <a:lnTo>
                    <a:pt x="5940660" y="0"/>
                  </a:lnTo>
                  <a:lnTo>
                    <a:pt x="5940660" y="108012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3200"/>
            </a:p>
          </p:txBody>
        </p:sp>
        <p:cxnSp>
          <p:nvCxnSpPr>
            <p:cNvPr id="44" name="Gerade Verbindung 52"/>
            <p:cNvCxnSpPr>
              <a:endCxn id="13" idx="0"/>
            </p:cNvCxnSpPr>
            <p:nvPr/>
          </p:nvCxnSpPr>
          <p:spPr bwMode="gray">
            <a:xfrm flipH="1">
              <a:off x="3695813" y="2996835"/>
              <a:ext cx="0" cy="143899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53"/>
            <p:cNvCxnSpPr/>
            <p:nvPr/>
          </p:nvCxnSpPr>
          <p:spPr bwMode="gray">
            <a:xfrm flipH="1">
              <a:off x="5327915" y="2996835"/>
              <a:ext cx="0" cy="143899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54"/>
            <p:cNvCxnSpPr/>
            <p:nvPr/>
          </p:nvCxnSpPr>
          <p:spPr bwMode="gray">
            <a:xfrm flipH="1">
              <a:off x="6960016" y="2996835"/>
              <a:ext cx="0" cy="143899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55"/>
            <p:cNvCxnSpPr/>
            <p:nvPr/>
          </p:nvCxnSpPr>
          <p:spPr bwMode="gray">
            <a:xfrm flipH="1">
              <a:off x="8592117" y="2996835"/>
              <a:ext cx="0" cy="143899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57"/>
            <p:cNvCxnSpPr>
              <a:stCxn id="6" idx="2"/>
            </p:cNvCxnSpPr>
            <p:nvPr/>
          </p:nvCxnSpPr>
          <p:spPr bwMode="gray">
            <a:xfrm>
              <a:off x="6095920" y="2133117"/>
              <a:ext cx="0" cy="863835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59"/>
            <p:cNvCxnSpPr>
              <a:endCxn id="49" idx="1"/>
            </p:cNvCxnSpPr>
            <p:nvPr/>
          </p:nvCxnSpPr>
          <p:spPr bwMode="gray">
            <a:xfrm flipV="1">
              <a:off x="5951984" y="2516872"/>
              <a:ext cx="279251" cy="53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winkelte Verbindung 63"/>
            <p:cNvCxnSpPr>
              <a:stCxn id="69" idx="2"/>
              <a:endCxn id="43" idx="1"/>
            </p:cNvCxnSpPr>
            <p:nvPr/>
          </p:nvCxnSpPr>
          <p:spPr bwMode="gray">
            <a:xfrm rot="16200000" flipH="1">
              <a:off x="575420" y="4436962"/>
              <a:ext cx="1728213" cy="96096"/>
            </a:xfrm>
            <a:prstGeom prst="bentConnector2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6"/>
            <p:cNvCxnSpPr>
              <a:stCxn id="25" idx="1"/>
            </p:cNvCxnSpPr>
            <p:nvPr/>
          </p:nvCxnSpPr>
          <p:spPr bwMode="gray">
            <a:xfrm flipH="1">
              <a:off x="1391477" y="4389011"/>
              <a:ext cx="96032" cy="96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68"/>
            <p:cNvCxnSpPr>
              <a:stCxn id="19" idx="1"/>
            </p:cNvCxnSpPr>
            <p:nvPr/>
          </p:nvCxnSpPr>
          <p:spPr bwMode="gray">
            <a:xfrm flipH="1">
              <a:off x="1391477" y="3908915"/>
              <a:ext cx="96011" cy="139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70"/>
            <p:cNvCxnSpPr>
              <a:stCxn id="31" idx="1"/>
            </p:cNvCxnSpPr>
            <p:nvPr/>
          </p:nvCxnSpPr>
          <p:spPr bwMode="gray">
            <a:xfrm flipH="1" flipV="1">
              <a:off x="1391478" y="4869160"/>
              <a:ext cx="96053" cy="2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winkelte Verbindung 74"/>
            <p:cNvCxnSpPr>
              <a:endCxn id="44" idx="1"/>
            </p:cNvCxnSpPr>
            <p:nvPr/>
          </p:nvCxnSpPr>
          <p:spPr bwMode="gray">
            <a:xfrm rot="16200000" flipH="1">
              <a:off x="2159692" y="4436898"/>
              <a:ext cx="1728095" cy="96341"/>
            </a:xfrm>
            <a:prstGeom prst="bentConnector2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5"/>
            <p:cNvCxnSpPr/>
            <p:nvPr/>
          </p:nvCxnSpPr>
          <p:spPr bwMode="gray">
            <a:xfrm flipH="1">
              <a:off x="2975568" y="4389128"/>
              <a:ext cx="96032" cy="96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6"/>
            <p:cNvCxnSpPr/>
            <p:nvPr/>
          </p:nvCxnSpPr>
          <p:spPr bwMode="gray">
            <a:xfrm flipH="1">
              <a:off x="2975568" y="3909032"/>
              <a:ext cx="96011" cy="139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7"/>
            <p:cNvCxnSpPr/>
            <p:nvPr/>
          </p:nvCxnSpPr>
          <p:spPr bwMode="gray">
            <a:xfrm flipH="1" flipV="1">
              <a:off x="2975568" y="4869278"/>
              <a:ext cx="96053" cy="2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winkelte Verbindung 80"/>
            <p:cNvCxnSpPr>
              <a:endCxn id="45" idx="1"/>
            </p:cNvCxnSpPr>
            <p:nvPr/>
          </p:nvCxnSpPr>
          <p:spPr bwMode="gray">
            <a:xfrm rot="16200000" flipH="1">
              <a:off x="3743883" y="4436914"/>
              <a:ext cx="1727978" cy="96427"/>
            </a:xfrm>
            <a:prstGeom prst="bentConnector2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81"/>
            <p:cNvCxnSpPr/>
            <p:nvPr/>
          </p:nvCxnSpPr>
          <p:spPr bwMode="gray">
            <a:xfrm flipH="1">
              <a:off x="4559659" y="4389245"/>
              <a:ext cx="96032" cy="96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82"/>
            <p:cNvCxnSpPr/>
            <p:nvPr/>
          </p:nvCxnSpPr>
          <p:spPr bwMode="gray">
            <a:xfrm flipH="1">
              <a:off x="4559659" y="3909149"/>
              <a:ext cx="96011" cy="139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83"/>
            <p:cNvCxnSpPr/>
            <p:nvPr/>
          </p:nvCxnSpPr>
          <p:spPr bwMode="gray">
            <a:xfrm flipH="1" flipV="1">
              <a:off x="4559659" y="4869395"/>
              <a:ext cx="96053" cy="2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winkelte Verbindung 86"/>
            <p:cNvCxnSpPr>
              <a:endCxn id="46" idx="1"/>
            </p:cNvCxnSpPr>
            <p:nvPr/>
          </p:nvCxnSpPr>
          <p:spPr bwMode="gray">
            <a:xfrm rot="16200000" flipH="1">
              <a:off x="5327996" y="4437010"/>
              <a:ext cx="1727861" cy="96352"/>
            </a:xfrm>
            <a:prstGeom prst="bentConnector2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87"/>
            <p:cNvCxnSpPr/>
            <p:nvPr/>
          </p:nvCxnSpPr>
          <p:spPr bwMode="gray">
            <a:xfrm flipH="1">
              <a:off x="6143749" y="4389363"/>
              <a:ext cx="96032" cy="96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88"/>
            <p:cNvCxnSpPr/>
            <p:nvPr/>
          </p:nvCxnSpPr>
          <p:spPr bwMode="gray">
            <a:xfrm flipH="1">
              <a:off x="6143749" y="3909267"/>
              <a:ext cx="96011" cy="139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89"/>
            <p:cNvCxnSpPr/>
            <p:nvPr/>
          </p:nvCxnSpPr>
          <p:spPr bwMode="gray">
            <a:xfrm flipH="1" flipV="1">
              <a:off x="6143750" y="4869512"/>
              <a:ext cx="96053" cy="2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winkelte Verbindung 92"/>
            <p:cNvCxnSpPr>
              <a:endCxn id="47" idx="1"/>
            </p:cNvCxnSpPr>
            <p:nvPr/>
          </p:nvCxnSpPr>
          <p:spPr bwMode="gray">
            <a:xfrm rot="16200000" flipH="1">
              <a:off x="6912268" y="4436946"/>
              <a:ext cx="1727743" cy="96597"/>
            </a:xfrm>
            <a:prstGeom prst="bentConnector2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93"/>
            <p:cNvCxnSpPr/>
            <p:nvPr/>
          </p:nvCxnSpPr>
          <p:spPr bwMode="gray">
            <a:xfrm flipH="1">
              <a:off x="7727840" y="4389480"/>
              <a:ext cx="96032" cy="96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94"/>
            <p:cNvCxnSpPr/>
            <p:nvPr/>
          </p:nvCxnSpPr>
          <p:spPr bwMode="gray">
            <a:xfrm flipH="1">
              <a:off x="7727840" y="3909384"/>
              <a:ext cx="96011" cy="139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95"/>
            <p:cNvCxnSpPr/>
            <p:nvPr/>
          </p:nvCxnSpPr>
          <p:spPr bwMode="gray">
            <a:xfrm flipH="1" flipV="1">
              <a:off x="7727840" y="4869630"/>
              <a:ext cx="96053" cy="2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winkelte Verbindung 98"/>
            <p:cNvCxnSpPr>
              <a:endCxn id="48" idx="1"/>
            </p:cNvCxnSpPr>
            <p:nvPr/>
          </p:nvCxnSpPr>
          <p:spPr bwMode="gray">
            <a:xfrm rot="16200000" flipH="1">
              <a:off x="8496459" y="4436962"/>
              <a:ext cx="1727626" cy="96683"/>
            </a:xfrm>
            <a:prstGeom prst="bentConnector2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99"/>
            <p:cNvCxnSpPr/>
            <p:nvPr/>
          </p:nvCxnSpPr>
          <p:spPr bwMode="gray">
            <a:xfrm flipH="1">
              <a:off x="9311931" y="4389597"/>
              <a:ext cx="96032" cy="96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100"/>
            <p:cNvCxnSpPr/>
            <p:nvPr/>
          </p:nvCxnSpPr>
          <p:spPr bwMode="gray">
            <a:xfrm flipH="1">
              <a:off x="9311931" y="3909501"/>
              <a:ext cx="96011" cy="139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101"/>
            <p:cNvCxnSpPr/>
            <p:nvPr/>
          </p:nvCxnSpPr>
          <p:spPr bwMode="gray">
            <a:xfrm flipH="1" flipV="1">
              <a:off x="9311931" y="4869747"/>
              <a:ext cx="96053" cy="2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TextBox 80"/>
          <p:cNvSpPr txBox="1"/>
          <p:nvPr/>
        </p:nvSpPr>
        <p:spPr>
          <a:xfrm>
            <a:off x="593587" y="5925372"/>
            <a:ext cx="111189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000" i="1" dirty="0"/>
              <a:t>Источник</a:t>
            </a:r>
            <a:r>
              <a:rPr lang="ru-RU" sz="1000" i="1"/>
              <a:t>: текст текст текст текст</a:t>
            </a:r>
            <a:endParaRPr lang="de-DE" sz="1000" i="1" dirty="0"/>
          </a:p>
        </p:txBody>
      </p:sp>
    </p:spTree>
    <p:extLst>
      <p:ext uri="{BB962C8B-B14F-4D97-AF65-F5344CB8AC3E}">
        <p14:creationId xmlns:p14="http://schemas.microsoft.com/office/powerpoint/2010/main" val="19576543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Пример дополнительного текста к графику презентации пример </a:t>
            </a:r>
            <a:r>
              <a:rPr lang="ru-RU"/>
              <a:t>дополнительного текста</a:t>
            </a:r>
          </a:p>
          <a:p>
            <a:r>
              <a:rPr lang="ru-RU"/>
              <a:t>к </a:t>
            </a:r>
            <a:r>
              <a:rPr lang="ru-RU" dirty="0"/>
              <a:t>графику презентации пример </a:t>
            </a:r>
            <a:endParaRPr lang="en-US" dirty="0"/>
          </a:p>
          <a:p>
            <a:r>
              <a:rPr lang="ru-RU" dirty="0"/>
              <a:t>дополнительного текста к графику </a:t>
            </a:r>
            <a:endParaRPr lang="en-US" dirty="0"/>
          </a:p>
          <a:p>
            <a:r>
              <a:rPr lang="ru-RU" dirty="0"/>
              <a:t>презентации пример дополнительного текста </a:t>
            </a:r>
            <a:endParaRPr lang="en-US" dirty="0"/>
          </a:p>
          <a:p>
            <a:r>
              <a:rPr lang="ru-RU" dirty="0"/>
              <a:t>к графику презентации пример дополнительного текста к графику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ЗАГОЛОВОК ГРАФИКА</a:t>
            </a:r>
          </a:p>
          <a:p>
            <a:r>
              <a:rPr lang="ru-RU" dirty="0"/>
              <a:t>В ОДНУ, ДВЕ ИЛИ ТРИ СТРОКИ</a:t>
            </a:r>
          </a:p>
          <a:p>
            <a:r>
              <a:rPr lang="ru-RU" dirty="0"/>
              <a:t>(млрд. руб.)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ru-RU" dirty="0"/>
              <a:t>ЗАГОЛОВОК ДИАГРАММЫ</a:t>
            </a:r>
          </a:p>
          <a:p>
            <a:r>
              <a:rPr lang="ru-RU" dirty="0"/>
              <a:t>(трлн руб.)</a:t>
            </a:r>
          </a:p>
        </p:txBody>
      </p:sp>
      <p:graphicFrame>
        <p:nvGraphicFramePr>
          <p:cNvPr id="15" name="Диаграмма 14"/>
          <p:cNvGraphicFramePr>
            <a:graphicFrameLocks noGrp="1"/>
          </p:cNvGraphicFramePr>
          <p:nvPr>
            <p:ph type="chart" sz="quarter" idx="21"/>
            <p:extLst>
              <p:ext uri="{D42A27DB-BD31-4B8C-83A1-F6EECF244321}">
                <p14:modId xmlns:p14="http://schemas.microsoft.com/office/powerpoint/2010/main" val="2035336191"/>
              </p:ext>
            </p:extLst>
          </p:nvPr>
        </p:nvGraphicFramePr>
        <p:xfrm>
          <a:off x="865188" y="2370138"/>
          <a:ext cx="5227637" cy="1987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Диаграмма 17"/>
          <p:cNvGraphicFramePr>
            <a:graphicFrameLocks noGrp="1"/>
          </p:cNvGraphicFramePr>
          <p:nvPr>
            <p:ph type="chart" sz="quarter" idx="22"/>
            <p:extLst>
              <p:ext uri="{D42A27DB-BD31-4B8C-83A1-F6EECF244321}">
                <p14:modId xmlns:p14="http://schemas.microsoft.com/office/powerpoint/2010/main" val="2025984324"/>
              </p:ext>
            </p:extLst>
          </p:nvPr>
        </p:nvGraphicFramePr>
        <p:xfrm>
          <a:off x="7083425" y="2370138"/>
          <a:ext cx="3975100" cy="3932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23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42251" y="1438121"/>
            <a:ext cx="15310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spc="-150" dirty="0">
                <a:solidFill>
                  <a:schemeClr val="accent3"/>
                </a:solidFill>
              </a:rPr>
              <a:t>+7,8</a:t>
            </a:r>
            <a:r>
              <a:rPr lang="en-US" sz="3200" spc="-150" dirty="0">
                <a:solidFill>
                  <a:schemeClr val="accent3"/>
                </a:solidFill>
              </a:rPr>
              <a:t>%</a:t>
            </a:r>
            <a:endParaRPr lang="ru-RU" sz="3200" spc="-15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4497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ПРИМЕР</a:t>
            </a:r>
            <a:endParaRPr lang="en-US" dirty="0"/>
          </a:p>
          <a:p>
            <a:r>
              <a:rPr lang="ru-RU" dirty="0"/>
              <a:t>ЗАГОЛОВОК ГРАФИКА</a:t>
            </a:r>
          </a:p>
          <a:p>
            <a:r>
              <a:rPr lang="ru-RU" dirty="0"/>
              <a:t>(млрд. руб.)</a:t>
            </a:r>
          </a:p>
          <a:p>
            <a:endParaRPr lang="ru-RU" dirty="0"/>
          </a:p>
        </p:txBody>
      </p:sp>
      <p:graphicFrame>
        <p:nvGraphicFramePr>
          <p:cNvPr id="16" name="Диаграмма 15"/>
          <p:cNvGraphicFramePr>
            <a:graphicFrameLocks noGrp="1"/>
          </p:cNvGraphicFramePr>
          <p:nvPr>
            <p:ph type="chart" sz="quarter" idx="21"/>
            <p:extLst>
              <p:ext uri="{D42A27DB-BD31-4B8C-83A1-F6EECF244321}">
                <p14:modId xmlns:p14="http://schemas.microsoft.com/office/powerpoint/2010/main" val="89023652"/>
              </p:ext>
            </p:extLst>
          </p:nvPr>
        </p:nvGraphicFramePr>
        <p:xfrm>
          <a:off x="185530" y="1789043"/>
          <a:ext cx="12006470" cy="3946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Текст 11"/>
          <p:cNvSpPr>
            <a:spLocks noGrp="1"/>
          </p:cNvSpPr>
          <p:nvPr>
            <p:ph type="body" sz="quarter" idx="20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</a:t>
            </a:r>
          </a:p>
        </p:txBody>
      </p:sp>
    </p:spTree>
    <p:extLst>
      <p:ext uri="{BB962C8B-B14F-4D97-AF65-F5344CB8AC3E}">
        <p14:creationId xmlns:p14="http://schemas.microsoft.com/office/powerpoint/2010/main" val="11867973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1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/>
          </p:nvPr>
        </p:nvSpPr>
        <p:spPr>
          <a:xfrm>
            <a:off x="865286" y="3087762"/>
            <a:ext cx="3666958" cy="2527226"/>
          </a:xfrm>
        </p:spPr>
        <p:txBody>
          <a:bodyPr/>
          <a:lstStyle/>
          <a:p>
            <a:r>
              <a:rPr lang="ru-RU" dirty="0"/>
              <a:t>Пример дополнительного текста к графику презентации пример дополнительного текста к графику презентации пример дополнительного текста к графику презентации пример дополнительного текста к графику презентации пример дополнительного текста к графику</a:t>
            </a:r>
            <a:r>
              <a:rPr lang="en-US" dirty="0"/>
              <a:t> </a:t>
            </a:r>
            <a:r>
              <a:rPr lang="ru-RU" dirty="0"/>
              <a:t>презентации пример дополнительного текста к графику презентации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ЗАГОЛОВОК ГРАФИКА</a:t>
            </a:r>
          </a:p>
          <a:p>
            <a:r>
              <a:rPr lang="ru-RU" dirty="0"/>
              <a:t>В ОДНУ, ДВЕ ИЛИ ТРИ СТРОКИ</a:t>
            </a:r>
          </a:p>
          <a:p>
            <a:r>
              <a:rPr lang="ru-RU" dirty="0"/>
              <a:t>(млрд. руб.)</a:t>
            </a:r>
          </a:p>
        </p:txBody>
      </p:sp>
      <p:graphicFrame>
        <p:nvGraphicFramePr>
          <p:cNvPr id="15" name="Диаграмма 14"/>
          <p:cNvGraphicFramePr>
            <a:graphicFrameLocks noGrp="1"/>
          </p:cNvGraphicFramePr>
          <p:nvPr>
            <p:ph type="chart" sz="quarter" idx="22"/>
            <p:extLst>
              <p:ext uri="{D42A27DB-BD31-4B8C-83A1-F6EECF244321}">
                <p14:modId xmlns:p14="http://schemas.microsoft.com/office/powerpoint/2010/main" val="1929859369"/>
              </p:ext>
            </p:extLst>
          </p:nvPr>
        </p:nvGraphicFramePr>
        <p:xfrm>
          <a:off x="5397500" y="1633538"/>
          <a:ext cx="6203950" cy="3981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Текст 9"/>
          <p:cNvSpPr>
            <a:spLocks noGrp="1"/>
          </p:cNvSpPr>
          <p:nvPr>
            <p:ph type="body" sz="quarter" idx="20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</a:t>
            </a:r>
          </a:p>
        </p:txBody>
      </p:sp>
    </p:spTree>
    <p:extLst>
      <p:ext uri="{BB962C8B-B14F-4D97-AF65-F5344CB8AC3E}">
        <p14:creationId xmlns:p14="http://schemas.microsoft.com/office/powerpoint/2010/main" val="11060002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ПРИМЕР</a:t>
            </a:r>
            <a:endParaRPr lang="en-US" dirty="0"/>
          </a:p>
          <a:p>
            <a:r>
              <a:rPr lang="ru-RU" dirty="0"/>
              <a:t>ЗАГОЛОВОК ГРАФИКА</a:t>
            </a:r>
          </a:p>
          <a:p>
            <a:r>
              <a:rPr lang="ru-RU" dirty="0"/>
              <a:t>(млрд. руб.)</a:t>
            </a:r>
          </a:p>
          <a:p>
            <a:endParaRPr lang="ru-RU" dirty="0"/>
          </a:p>
        </p:txBody>
      </p:sp>
      <p:graphicFrame>
        <p:nvGraphicFramePr>
          <p:cNvPr id="14" name="Диаграмма 13"/>
          <p:cNvGraphicFramePr>
            <a:graphicFrameLocks noGrp="1"/>
          </p:cNvGraphicFramePr>
          <p:nvPr>
            <p:ph type="chart" sz="quarter" idx="21"/>
            <p:extLst>
              <p:ext uri="{D42A27DB-BD31-4B8C-83A1-F6EECF244321}">
                <p14:modId xmlns:p14="http://schemas.microsoft.com/office/powerpoint/2010/main" val="1785484955"/>
              </p:ext>
            </p:extLst>
          </p:nvPr>
        </p:nvGraphicFramePr>
        <p:xfrm>
          <a:off x="865188" y="2370138"/>
          <a:ext cx="10674350" cy="3365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Текст 11"/>
          <p:cNvSpPr>
            <a:spLocks noGrp="1"/>
          </p:cNvSpPr>
          <p:nvPr>
            <p:ph type="body" sz="quarter" idx="20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</a:t>
            </a:r>
          </a:p>
        </p:txBody>
      </p:sp>
    </p:spTree>
    <p:extLst>
      <p:ext uri="{BB962C8B-B14F-4D97-AF65-F5344CB8AC3E}">
        <p14:creationId xmlns:p14="http://schemas.microsoft.com/office/powerpoint/2010/main" val="6943994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20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</a:t>
            </a:r>
          </a:p>
        </p:txBody>
      </p:sp>
      <p:sp>
        <p:nvSpPr>
          <p:cNvPr id="5" name="MIO_TEXTBOX_BODY"/>
          <p:cNvSpPr txBox="1">
            <a:spLocks/>
          </p:cNvSpPr>
          <p:nvPr/>
        </p:nvSpPr>
        <p:spPr>
          <a:xfrm>
            <a:off x="593727" y="1985628"/>
            <a:ext cx="2764253" cy="9642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72000" tIns="72000" rIns="72000" bIns="72000" rtlCol="0">
            <a:noAutofit/>
          </a:bodyPr>
          <a:lstStyle>
            <a:lvl1pPr marL="239994" indent="-239994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/>
            </a:lvl1pPr>
            <a:lvl2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2pPr>
            <a:lvl3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3pPr>
            <a:lvl4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4pPr>
            <a:lvl5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5pPr>
            <a:lvl6pPr marL="335271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6pPr>
            <a:lvl7pPr marL="3962301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9pPr>
          </a:lstStyle>
          <a:p>
            <a:pPr>
              <a:buClr>
                <a:schemeClr val="accent3"/>
              </a:buClr>
            </a:pPr>
            <a:r>
              <a:rPr lang="ru-RU" sz="1600" dirty="0"/>
              <a:t>Текст</a:t>
            </a:r>
            <a:endParaRPr lang="en-MY" sz="1600" dirty="0"/>
          </a:p>
        </p:txBody>
      </p:sp>
      <p:sp>
        <p:nvSpPr>
          <p:cNvPr id="6" name="MIO_TEXTBOX_BODY"/>
          <p:cNvSpPr txBox="1">
            <a:spLocks/>
          </p:cNvSpPr>
          <p:nvPr/>
        </p:nvSpPr>
        <p:spPr>
          <a:xfrm>
            <a:off x="3446354" y="1985628"/>
            <a:ext cx="8266221" cy="9642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72000" tIns="72000" rIns="72000" bIns="72000" rtlCol="0">
            <a:noAutofit/>
          </a:bodyPr>
          <a:lstStyle>
            <a:lvl1pPr marL="239994" indent="-239994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/>
            </a:lvl1pPr>
            <a:lvl2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2pPr>
            <a:lvl3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3pPr>
            <a:lvl4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4pPr>
            <a:lvl5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5pPr>
            <a:lvl6pPr marL="335271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6pPr>
            <a:lvl7pPr marL="3962301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9pPr>
          </a:lstStyle>
          <a:p>
            <a:pPr>
              <a:buClr>
                <a:schemeClr val="accent3"/>
              </a:buClr>
            </a:pPr>
            <a:r>
              <a:rPr lang="ru-RU" sz="1600" dirty="0"/>
              <a:t>Текст</a:t>
            </a:r>
            <a:endParaRPr lang="en-MY" sz="1600" dirty="0"/>
          </a:p>
        </p:txBody>
      </p:sp>
      <p:sp>
        <p:nvSpPr>
          <p:cNvPr id="10" name="MIO_TEXTBOX_BODY"/>
          <p:cNvSpPr txBox="1">
            <a:spLocks/>
          </p:cNvSpPr>
          <p:nvPr/>
        </p:nvSpPr>
        <p:spPr>
          <a:xfrm>
            <a:off x="593727" y="3021125"/>
            <a:ext cx="2764253" cy="9642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72000" tIns="72000" rIns="72000" bIns="72000" rtlCol="0">
            <a:noAutofit/>
          </a:bodyPr>
          <a:lstStyle>
            <a:lvl1pPr marL="239994" indent="-239994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/>
            </a:lvl1pPr>
            <a:lvl2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2pPr>
            <a:lvl3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3pPr>
            <a:lvl4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4pPr>
            <a:lvl5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5pPr>
            <a:lvl6pPr marL="335271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6pPr>
            <a:lvl7pPr marL="3962301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9pPr>
          </a:lstStyle>
          <a:p>
            <a:pPr>
              <a:buClr>
                <a:schemeClr val="accent3"/>
              </a:buClr>
            </a:pPr>
            <a:r>
              <a:rPr lang="ru-RU" sz="1600" dirty="0"/>
              <a:t>Текст</a:t>
            </a:r>
            <a:endParaRPr lang="en-MY" sz="1600" dirty="0"/>
          </a:p>
        </p:txBody>
      </p:sp>
      <p:sp>
        <p:nvSpPr>
          <p:cNvPr id="11" name="MIO_TEXTBOX_BODY"/>
          <p:cNvSpPr txBox="1">
            <a:spLocks/>
          </p:cNvSpPr>
          <p:nvPr/>
        </p:nvSpPr>
        <p:spPr>
          <a:xfrm>
            <a:off x="3446354" y="3021125"/>
            <a:ext cx="8266221" cy="9642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72000" tIns="72000" rIns="72000" bIns="72000" rtlCol="0">
            <a:noAutofit/>
          </a:bodyPr>
          <a:lstStyle>
            <a:lvl1pPr marL="239994" indent="-239994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/>
            </a:lvl1pPr>
            <a:lvl2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2pPr>
            <a:lvl3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3pPr>
            <a:lvl4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4pPr>
            <a:lvl5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5pPr>
            <a:lvl6pPr marL="335271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6pPr>
            <a:lvl7pPr marL="3962301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9pPr>
          </a:lstStyle>
          <a:p>
            <a:pPr>
              <a:buClr>
                <a:schemeClr val="accent3"/>
              </a:buClr>
            </a:pPr>
            <a:r>
              <a:rPr lang="ru-RU" sz="1600" dirty="0"/>
              <a:t>Текст</a:t>
            </a:r>
            <a:endParaRPr lang="en-MY" sz="1600" dirty="0"/>
          </a:p>
        </p:txBody>
      </p:sp>
      <p:sp>
        <p:nvSpPr>
          <p:cNvPr id="12" name="MIO_TEXTBOX_BODY"/>
          <p:cNvSpPr txBox="1">
            <a:spLocks/>
          </p:cNvSpPr>
          <p:nvPr/>
        </p:nvSpPr>
        <p:spPr>
          <a:xfrm>
            <a:off x="593727" y="4056968"/>
            <a:ext cx="2764253" cy="9642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72000" tIns="72000" rIns="72000" bIns="72000" rtlCol="0">
            <a:noAutofit/>
          </a:bodyPr>
          <a:lstStyle>
            <a:lvl1pPr marL="239994" indent="-239994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/>
            </a:lvl1pPr>
            <a:lvl2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2pPr>
            <a:lvl3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3pPr>
            <a:lvl4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4pPr>
            <a:lvl5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5pPr>
            <a:lvl6pPr marL="335271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6pPr>
            <a:lvl7pPr marL="3962301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9pPr>
          </a:lstStyle>
          <a:p>
            <a:pPr>
              <a:buClr>
                <a:schemeClr val="accent3"/>
              </a:buClr>
            </a:pPr>
            <a:r>
              <a:rPr lang="ru-RU" sz="1600" dirty="0"/>
              <a:t>Текст</a:t>
            </a:r>
            <a:endParaRPr lang="en-MY" sz="1600" dirty="0"/>
          </a:p>
        </p:txBody>
      </p:sp>
      <p:sp>
        <p:nvSpPr>
          <p:cNvPr id="13" name="MIO_TEXTBOX_BODY"/>
          <p:cNvSpPr txBox="1">
            <a:spLocks/>
          </p:cNvSpPr>
          <p:nvPr/>
        </p:nvSpPr>
        <p:spPr>
          <a:xfrm>
            <a:off x="3446354" y="4056968"/>
            <a:ext cx="8266221" cy="9642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72000" tIns="72000" rIns="72000" bIns="72000" rtlCol="0">
            <a:noAutofit/>
          </a:bodyPr>
          <a:lstStyle>
            <a:lvl1pPr marL="239994" indent="-239994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/>
            </a:lvl1pPr>
            <a:lvl2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2pPr>
            <a:lvl3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3pPr>
            <a:lvl4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4pPr>
            <a:lvl5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5pPr>
            <a:lvl6pPr marL="335271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6pPr>
            <a:lvl7pPr marL="3962301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9pPr>
          </a:lstStyle>
          <a:p>
            <a:pPr>
              <a:buClr>
                <a:schemeClr val="accent3"/>
              </a:buClr>
            </a:pPr>
            <a:r>
              <a:rPr lang="ru-RU" sz="1600" dirty="0"/>
              <a:t>Текст</a:t>
            </a:r>
            <a:endParaRPr lang="en-MY" sz="1600" dirty="0"/>
          </a:p>
        </p:txBody>
      </p:sp>
      <p:sp>
        <p:nvSpPr>
          <p:cNvPr id="14" name="MIO_TEXTBOX_BODY"/>
          <p:cNvSpPr txBox="1">
            <a:spLocks/>
          </p:cNvSpPr>
          <p:nvPr/>
        </p:nvSpPr>
        <p:spPr>
          <a:xfrm>
            <a:off x="593727" y="5092806"/>
            <a:ext cx="2764253" cy="928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72000" tIns="72000" rIns="72000" bIns="72000" rtlCol="0">
            <a:noAutofit/>
          </a:bodyPr>
          <a:lstStyle>
            <a:lvl1pPr marL="239994" indent="-239994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/>
            </a:lvl1pPr>
            <a:lvl2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2pPr>
            <a:lvl3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3pPr>
            <a:lvl4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4pPr>
            <a:lvl5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5pPr>
            <a:lvl6pPr marL="335271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6pPr>
            <a:lvl7pPr marL="3962301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9pPr>
          </a:lstStyle>
          <a:p>
            <a:pPr>
              <a:buClr>
                <a:schemeClr val="accent3"/>
              </a:buClr>
            </a:pPr>
            <a:r>
              <a:rPr lang="ru-RU" sz="1600" dirty="0"/>
              <a:t>Текст</a:t>
            </a:r>
            <a:endParaRPr lang="en-MY" sz="1600" dirty="0"/>
          </a:p>
        </p:txBody>
      </p:sp>
      <p:sp>
        <p:nvSpPr>
          <p:cNvPr id="15" name="MIO_TEXTBOX_BODY"/>
          <p:cNvSpPr txBox="1">
            <a:spLocks/>
          </p:cNvSpPr>
          <p:nvPr/>
        </p:nvSpPr>
        <p:spPr>
          <a:xfrm>
            <a:off x="3446354" y="5092806"/>
            <a:ext cx="8266221" cy="928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72000" tIns="72000" rIns="72000" bIns="72000" rtlCol="0">
            <a:noAutofit/>
          </a:bodyPr>
          <a:lstStyle>
            <a:lvl1pPr marL="239994" indent="-239994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/>
            </a:lvl1pPr>
            <a:lvl2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2pPr>
            <a:lvl3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3pPr>
            <a:lvl4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4pPr>
            <a:lvl5pPr marL="241200" indent="-239994">
              <a:lnSpc>
                <a:spcPct val="107000"/>
              </a:lnSpc>
              <a:spcBef>
                <a:spcPts val="10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/>
            </a:lvl5pPr>
            <a:lvl6pPr marL="335271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6pPr>
            <a:lvl7pPr marL="3962301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9pPr>
          </a:lstStyle>
          <a:p>
            <a:pPr>
              <a:buClr>
                <a:schemeClr val="accent3"/>
              </a:buClr>
            </a:pPr>
            <a:r>
              <a:rPr lang="ru-RU" sz="1600" dirty="0"/>
              <a:t>Текст</a:t>
            </a:r>
            <a:endParaRPr lang="en-MY" sz="1600" dirty="0"/>
          </a:p>
        </p:txBody>
      </p:sp>
      <p:sp>
        <p:nvSpPr>
          <p:cNvPr id="16" name="MIO_TEXTBOX_HEADER"/>
          <p:cNvSpPr/>
          <p:nvPr/>
        </p:nvSpPr>
        <p:spPr>
          <a:xfrm>
            <a:off x="593726" y="1592263"/>
            <a:ext cx="2764253" cy="32143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6472" rIns="66472" bIns="66472" rtlCol="0" anchor="ctr" anchorCtr="0"/>
          <a:lstStyle/>
          <a:p>
            <a:r>
              <a:rPr lang="ru-RU" spc="-150" noProof="1"/>
              <a:t>ЗАГОЛОВОК</a:t>
            </a:r>
            <a:endParaRPr lang="en-US" spc="-150" noProof="1"/>
          </a:p>
        </p:txBody>
      </p:sp>
      <p:sp>
        <p:nvSpPr>
          <p:cNvPr id="17" name="MIO_TEXTBOX_HEADER"/>
          <p:cNvSpPr/>
          <p:nvPr/>
        </p:nvSpPr>
        <p:spPr>
          <a:xfrm>
            <a:off x="3446359" y="1592263"/>
            <a:ext cx="8266221" cy="32143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6472" rIns="66472" bIns="66472" rtlCol="0" anchor="ctr" anchorCtr="0"/>
          <a:lstStyle/>
          <a:p>
            <a:r>
              <a:rPr lang="ru-RU" spc="-150" noProof="1"/>
              <a:t>ЗАГОЛОВОК</a:t>
            </a:r>
            <a:endParaRPr lang="en-US" spc="-150" noProof="1"/>
          </a:p>
        </p:txBody>
      </p:sp>
    </p:spTree>
    <p:extLst>
      <p:ext uri="{BB962C8B-B14F-4D97-AF65-F5344CB8AC3E}">
        <p14:creationId xmlns:p14="http://schemas.microsoft.com/office/powerpoint/2010/main" val="11101788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20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</a:t>
            </a:r>
          </a:p>
        </p:txBody>
      </p:sp>
      <p:sp>
        <p:nvSpPr>
          <p:cNvPr id="5" name="object 2"/>
          <p:cNvSpPr/>
          <p:nvPr/>
        </p:nvSpPr>
        <p:spPr>
          <a:xfrm>
            <a:off x="593726" y="1592263"/>
            <a:ext cx="11118850" cy="924571"/>
          </a:xfrm>
          <a:custGeom>
            <a:avLst/>
            <a:gdLst/>
            <a:ahLst/>
            <a:cxnLst/>
            <a:rect l="l" t="t" r="r" b="b"/>
            <a:pathLst>
              <a:path w="7633093" h="889203">
                <a:moveTo>
                  <a:pt x="0" y="889203"/>
                </a:moveTo>
                <a:lnTo>
                  <a:pt x="7633093" y="889203"/>
                </a:lnTo>
                <a:lnTo>
                  <a:pt x="7633093" y="0"/>
                </a:lnTo>
                <a:lnTo>
                  <a:pt x="0" y="0"/>
                </a:lnTo>
                <a:lnTo>
                  <a:pt x="0" y="88920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lIns="192000" tIns="96000" rIns="96000" bIns="96000" rtlCol="0" anchor="ctr" anchorCtr="0">
            <a:noAutofit/>
          </a:bodyPr>
          <a:lstStyle/>
          <a:p>
            <a:r>
              <a:rPr lang="ru-RU" sz="2000" dirty="0"/>
              <a:t>Пример текста пример текста Пример текста пример текста</a:t>
            </a:r>
            <a:endParaRPr lang="de-DE" sz="2000" dirty="0"/>
          </a:p>
        </p:txBody>
      </p:sp>
      <p:sp>
        <p:nvSpPr>
          <p:cNvPr id="6" name="object 4"/>
          <p:cNvSpPr/>
          <p:nvPr/>
        </p:nvSpPr>
        <p:spPr>
          <a:xfrm>
            <a:off x="593725" y="2756925"/>
            <a:ext cx="4608463" cy="3024336"/>
          </a:xfrm>
          <a:custGeom>
            <a:avLst/>
            <a:gdLst/>
            <a:ahLst/>
            <a:cxnLst/>
            <a:rect l="l" t="t" r="r" b="b"/>
            <a:pathLst>
              <a:path w="3058667" h="2323922">
                <a:moveTo>
                  <a:pt x="0" y="2323922"/>
                </a:moveTo>
                <a:lnTo>
                  <a:pt x="3058667" y="2323922"/>
                </a:lnTo>
                <a:lnTo>
                  <a:pt x="3058667" y="0"/>
                </a:lnTo>
                <a:lnTo>
                  <a:pt x="0" y="0"/>
                </a:lnTo>
                <a:lnTo>
                  <a:pt x="0" y="232392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92000" tIns="96000" rIns="96000" bIns="96000" rtlCol="0" anchor="ctr" anchorCtr="0">
            <a:no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Пример текста пример текста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0" name="object 5"/>
          <p:cNvSpPr/>
          <p:nvPr/>
        </p:nvSpPr>
        <p:spPr>
          <a:xfrm>
            <a:off x="5778865" y="2756989"/>
            <a:ext cx="5933710" cy="576000"/>
          </a:xfrm>
          <a:custGeom>
            <a:avLst/>
            <a:gdLst/>
            <a:ahLst/>
            <a:cxnLst/>
            <a:rect l="l" t="t" r="r" b="b"/>
            <a:pathLst>
              <a:path w="4118394" h="453605">
                <a:moveTo>
                  <a:pt x="0" y="453605"/>
                </a:moveTo>
                <a:lnTo>
                  <a:pt x="4118394" y="453605"/>
                </a:lnTo>
                <a:lnTo>
                  <a:pt x="4118394" y="0"/>
                </a:lnTo>
                <a:lnTo>
                  <a:pt x="0" y="0"/>
                </a:lnTo>
                <a:lnTo>
                  <a:pt x="0" y="453605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lIns="192000" tIns="96000" rIns="96000" bIns="96000" rtlCol="0" anchor="ctr" anchorCtr="0">
            <a:noAutofit/>
          </a:bodyPr>
          <a:lstStyle/>
          <a:p>
            <a:r>
              <a:rPr lang="ru-RU" dirty="0"/>
              <a:t>Пример текста пример текста</a:t>
            </a:r>
            <a:endParaRPr lang="de-DE" dirty="0"/>
          </a:p>
        </p:txBody>
      </p:sp>
      <p:sp>
        <p:nvSpPr>
          <p:cNvPr id="11" name="object 6"/>
          <p:cNvSpPr/>
          <p:nvPr/>
        </p:nvSpPr>
        <p:spPr>
          <a:xfrm>
            <a:off x="5778865" y="3573080"/>
            <a:ext cx="5933710" cy="576000"/>
          </a:xfrm>
          <a:custGeom>
            <a:avLst/>
            <a:gdLst/>
            <a:ahLst/>
            <a:cxnLst/>
            <a:rect l="l" t="t" r="r" b="b"/>
            <a:pathLst>
              <a:path w="4118394" h="453605">
                <a:moveTo>
                  <a:pt x="0" y="453605"/>
                </a:moveTo>
                <a:lnTo>
                  <a:pt x="4118394" y="453605"/>
                </a:lnTo>
                <a:lnTo>
                  <a:pt x="4118394" y="0"/>
                </a:lnTo>
                <a:lnTo>
                  <a:pt x="0" y="0"/>
                </a:lnTo>
                <a:lnTo>
                  <a:pt x="0" y="453605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lIns="192000" tIns="96000" rIns="96000" bIns="96000" rtlCol="0" anchor="ctr" anchorCtr="0">
            <a:noAutofit/>
          </a:bodyPr>
          <a:lstStyle/>
          <a:p>
            <a:r>
              <a:rPr lang="ru-RU" dirty="0"/>
              <a:t>Пример текста пример текста</a:t>
            </a:r>
            <a:endParaRPr lang="de-DE" dirty="0"/>
          </a:p>
        </p:txBody>
      </p:sp>
      <p:sp>
        <p:nvSpPr>
          <p:cNvPr id="12" name="object 7"/>
          <p:cNvSpPr/>
          <p:nvPr/>
        </p:nvSpPr>
        <p:spPr>
          <a:xfrm>
            <a:off x="5778865" y="4389171"/>
            <a:ext cx="5933710" cy="576000"/>
          </a:xfrm>
          <a:custGeom>
            <a:avLst/>
            <a:gdLst/>
            <a:ahLst/>
            <a:cxnLst/>
            <a:rect l="l" t="t" r="r" b="b"/>
            <a:pathLst>
              <a:path w="4118394" h="453605">
                <a:moveTo>
                  <a:pt x="0" y="453605"/>
                </a:moveTo>
                <a:lnTo>
                  <a:pt x="4118394" y="453605"/>
                </a:lnTo>
                <a:lnTo>
                  <a:pt x="4118394" y="0"/>
                </a:lnTo>
                <a:lnTo>
                  <a:pt x="0" y="0"/>
                </a:lnTo>
                <a:lnTo>
                  <a:pt x="0" y="453605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lIns="192000" tIns="96000" rIns="96000" bIns="96000" rtlCol="0" anchor="ctr" anchorCtr="0">
            <a:noAutofit/>
          </a:bodyPr>
          <a:lstStyle/>
          <a:p>
            <a:r>
              <a:rPr lang="ru-RU" dirty="0"/>
              <a:t>Пример текста пример текста</a:t>
            </a:r>
            <a:endParaRPr lang="de-DE" dirty="0"/>
          </a:p>
        </p:txBody>
      </p:sp>
      <p:sp>
        <p:nvSpPr>
          <p:cNvPr id="13" name="object 8"/>
          <p:cNvSpPr/>
          <p:nvPr/>
        </p:nvSpPr>
        <p:spPr>
          <a:xfrm>
            <a:off x="5778865" y="5205197"/>
            <a:ext cx="5933710" cy="576000"/>
          </a:xfrm>
          <a:custGeom>
            <a:avLst/>
            <a:gdLst/>
            <a:ahLst/>
            <a:cxnLst/>
            <a:rect l="l" t="t" r="r" b="b"/>
            <a:pathLst>
              <a:path w="4118394" h="453605">
                <a:moveTo>
                  <a:pt x="0" y="453605"/>
                </a:moveTo>
                <a:lnTo>
                  <a:pt x="4118394" y="453605"/>
                </a:lnTo>
                <a:lnTo>
                  <a:pt x="4118394" y="0"/>
                </a:lnTo>
                <a:lnTo>
                  <a:pt x="0" y="0"/>
                </a:lnTo>
                <a:lnTo>
                  <a:pt x="0" y="453605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lIns="192000" tIns="96000" rIns="96000" bIns="96000" rtlCol="0" anchor="ctr" anchorCtr="0">
            <a:noAutofit/>
          </a:bodyPr>
          <a:lstStyle/>
          <a:p>
            <a:r>
              <a:rPr lang="ru-RU" dirty="0"/>
              <a:t>Пример текста пример текста</a:t>
            </a:r>
            <a:endParaRPr lang="de-DE" dirty="0"/>
          </a:p>
        </p:txBody>
      </p:sp>
      <p:sp>
        <p:nvSpPr>
          <p:cNvPr id="14" name="Rechteck 1"/>
          <p:cNvSpPr/>
          <p:nvPr/>
        </p:nvSpPr>
        <p:spPr>
          <a:xfrm>
            <a:off x="5323505" y="5336148"/>
            <a:ext cx="334044" cy="314099"/>
          </a:xfrm>
          <a:custGeom>
            <a:avLst/>
            <a:gdLst/>
            <a:ahLst/>
            <a:cxnLst/>
            <a:rect l="l" t="t" r="r" b="b"/>
            <a:pathLst>
              <a:path w="250533" h="235574">
                <a:moveTo>
                  <a:pt x="112904" y="0"/>
                </a:moveTo>
                <a:lnTo>
                  <a:pt x="181407" y="0"/>
                </a:lnTo>
                <a:lnTo>
                  <a:pt x="250533" y="117780"/>
                </a:lnTo>
                <a:lnTo>
                  <a:pt x="180582" y="235574"/>
                </a:lnTo>
                <a:lnTo>
                  <a:pt x="112904" y="235574"/>
                </a:lnTo>
                <a:lnTo>
                  <a:pt x="166905" y="144787"/>
                </a:lnTo>
                <a:lnTo>
                  <a:pt x="0" y="144787"/>
                </a:lnTo>
                <a:lnTo>
                  <a:pt x="0" y="90787"/>
                </a:lnTo>
                <a:lnTo>
                  <a:pt x="166912" y="9078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15" name="Rechteck 1"/>
          <p:cNvSpPr/>
          <p:nvPr/>
        </p:nvSpPr>
        <p:spPr>
          <a:xfrm>
            <a:off x="5323505" y="4520121"/>
            <a:ext cx="334044" cy="314099"/>
          </a:xfrm>
          <a:custGeom>
            <a:avLst/>
            <a:gdLst/>
            <a:ahLst/>
            <a:cxnLst/>
            <a:rect l="l" t="t" r="r" b="b"/>
            <a:pathLst>
              <a:path w="250533" h="235574">
                <a:moveTo>
                  <a:pt x="112904" y="0"/>
                </a:moveTo>
                <a:lnTo>
                  <a:pt x="181407" y="0"/>
                </a:lnTo>
                <a:lnTo>
                  <a:pt x="250533" y="117780"/>
                </a:lnTo>
                <a:lnTo>
                  <a:pt x="180582" y="235574"/>
                </a:lnTo>
                <a:lnTo>
                  <a:pt x="112904" y="235574"/>
                </a:lnTo>
                <a:lnTo>
                  <a:pt x="166905" y="144787"/>
                </a:lnTo>
                <a:lnTo>
                  <a:pt x="0" y="144787"/>
                </a:lnTo>
                <a:lnTo>
                  <a:pt x="0" y="90787"/>
                </a:lnTo>
                <a:lnTo>
                  <a:pt x="166912" y="9078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16" name="Rechteck 1"/>
          <p:cNvSpPr/>
          <p:nvPr/>
        </p:nvSpPr>
        <p:spPr>
          <a:xfrm>
            <a:off x="5323505" y="3704031"/>
            <a:ext cx="334044" cy="314099"/>
          </a:xfrm>
          <a:custGeom>
            <a:avLst/>
            <a:gdLst/>
            <a:ahLst/>
            <a:cxnLst/>
            <a:rect l="l" t="t" r="r" b="b"/>
            <a:pathLst>
              <a:path w="250533" h="235574">
                <a:moveTo>
                  <a:pt x="112904" y="0"/>
                </a:moveTo>
                <a:lnTo>
                  <a:pt x="181407" y="0"/>
                </a:lnTo>
                <a:lnTo>
                  <a:pt x="250533" y="117780"/>
                </a:lnTo>
                <a:lnTo>
                  <a:pt x="180582" y="235574"/>
                </a:lnTo>
                <a:lnTo>
                  <a:pt x="112904" y="235574"/>
                </a:lnTo>
                <a:lnTo>
                  <a:pt x="166905" y="144787"/>
                </a:lnTo>
                <a:lnTo>
                  <a:pt x="0" y="144787"/>
                </a:lnTo>
                <a:lnTo>
                  <a:pt x="0" y="90787"/>
                </a:lnTo>
                <a:lnTo>
                  <a:pt x="166912" y="9078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17" name="Rechteck 1"/>
          <p:cNvSpPr/>
          <p:nvPr/>
        </p:nvSpPr>
        <p:spPr>
          <a:xfrm>
            <a:off x="5323505" y="2887940"/>
            <a:ext cx="334044" cy="314099"/>
          </a:xfrm>
          <a:custGeom>
            <a:avLst/>
            <a:gdLst/>
            <a:ahLst/>
            <a:cxnLst/>
            <a:rect l="l" t="t" r="r" b="b"/>
            <a:pathLst>
              <a:path w="250533" h="235574">
                <a:moveTo>
                  <a:pt x="112904" y="0"/>
                </a:moveTo>
                <a:lnTo>
                  <a:pt x="181407" y="0"/>
                </a:lnTo>
                <a:lnTo>
                  <a:pt x="250533" y="117780"/>
                </a:lnTo>
                <a:lnTo>
                  <a:pt x="180582" y="235574"/>
                </a:lnTo>
                <a:lnTo>
                  <a:pt x="112904" y="235574"/>
                </a:lnTo>
                <a:lnTo>
                  <a:pt x="166905" y="144787"/>
                </a:lnTo>
                <a:lnTo>
                  <a:pt x="0" y="144787"/>
                </a:lnTo>
                <a:lnTo>
                  <a:pt x="0" y="90787"/>
                </a:lnTo>
                <a:lnTo>
                  <a:pt x="166912" y="9078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</p:spTree>
    <p:extLst>
      <p:ext uri="{BB962C8B-B14F-4D97-AF65-F5344CB8AC3E}">
        <p14:creationId xmlns:p14="http://schemas.microsoft.com/office/powerpoint/2010/main" val="21149416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20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</a:t>
            </a:r>
          </a:p>
        </p:txBody>
      </p:sp>
      <p:cxnSp>
        <p:nvCxnSpPr>
          <p:cNvPr id="5" name="OTLSHAPE_M_9b39fefad822441faaec2498033d8bd1_Connector1">
            <a:extLst>
              <a:ext uri="{FF2B5EF4-FFF2-40B4-BE49-F238E27FC236}">
                <a16:creationId xmlns:a16="http://schemas.microsoft.com/office/drawing/2014/main" id="{D714BE7E-BD6D-42F5-8111-E1E9D8C8AB44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7785295" y="1376771"/>
            <a:ext cx="0" cy="1108157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26">
            <a:extLst>
              <a:ext uri="{FF2B5EF4-FFF2-40B4-BE49-F238E27FC236}">
                <a16:creationId xmlns:a16="http://schemas.microsoft.com/office/drawing/2014/main" id="{A57B499A-35C8-41F9-A2AB-F0A8BE7B1B01}"/>
              </a:ext>
            </a:extLst>
          </p:cNvPr>
          <p:cNvGrpSpPr/>
          <p:nvPr/>
        </p:nvGrpSpPr>
        <p:grpSpPr>
          <a:xfrm>
            <a:off x="7785295" y="1376771"/>
            <a:ext cx="860380" cy="380763"/>
            <a:chOff x="7785295" y="939169"/>
            <a:chExt cx="860380" cy="380763"/>
          </a:xfrm>
        </p:grpSpPr>
        <p:sp>
          <p:nvSpPr>
            <p:cNvPr id="10" name="OTLSHAPE_M_9b39fefad822441faaec2498033d8bd1_Shape">
              <a:extLst>
                <a:ext uri="{FF2B5EF4-FFF2-40B4-BE49-F238E27FC236}">
                  <a16:creationId xmlns:a16="http://schemas.microsoft.com/office/drawing/2014/main" id="{34F5B95D-00AF-43CD-BED7-2003D86FDFC2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 rot="16200000" flipV="1">
              <a:off x="7782024" y="942440"/>
              <a:ext cx="265347" cy="258805"/>
            </a:xfrm>
            <a:prstGeom prst="triangle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latin typeface="+mj-lt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822D528-F4E1-46E8-BCAC-80ECA1BC34AA}"/>
                </a:ext>
              </a:extLst>
            </p:cNvPr>
            <p:cNvSpPr txBox="1"/>
            <p:nvPr/>
          </p:nvSpPr>
          <p:spPr>
            <a:xfrm>
              <a:off x="8044100" y="950600"/>
              <a:ext cx="601575" cy="369332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ru-RU" sz="900" spc="-4" dirty="0">
                  <a:solidFill>
                    <a:schemeClr val="dk1"/>
                  </a:solidFill>
                </a:rPr>
                <a:t>Пример</a:t>
              </a:r>
            </a:p>
            <a:p>
              <a:r>
                <a:rPr lang="ru-RU" sz="900" spc="-4" dirty="0">
                  <a:solidFill>
                    <a:schemeClr val="dk1"/>
                  </a:solidFill>
                </a:rPr>
                <a:t>текста</a:t>
              </a:r>
              <a:endParaRPr lang="en-US" sz="900" spc="-4" dirty="0">
                <a:solidFill>
                  <a:schemeClr val="dk1"/>
                </a:solidFill>
              </a:endParaRPr>
            </a:p>
          </p:txBody>
        </p:sp>
      </p:grpSp>
      <p:cxnSp>
        <p:nvCxnSpPr>
          <p:cNvPr id="12" name="OTLSHAPE_M_9b39fefad822441faaec2498033d8bd1_Connector1">
            <a:extLst>
              <a:ext uri="{FF2B5EF4-FFF2-40B4-BE49-F238E27FC236}">
                <a16:creationId xmlns:a16="http://schemas.microsoft.com/office/drawing/2014/main" id="{B0C368CD-3708-469D-BB01-676367FC1DCD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828858" y="1744471"/>
            <a:ext cx="0" cy="675911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17">
            <a:extLst>
              <a:ext uri="{FF2B5EF4-FFF2-40B4-BE49-F238E27FC236}">
                <a16:creationId xmlns:a16="http://schemas.microsoft.com/office/drawing/2014/main" id="{DD74D9B4-E5FD-43A7-8A57-A500D905B762}"/>
              </a:ext>
            </a:extLst>
          </p:cNvPr>
          <p:cNvGrpSpPr/>
          <p:nvPr/>
        </p:nvGrpSpPr>
        <p:grpSpPr>
          <a:xfrm>
            <a:off x="4828858" y="1744471"/>
            <a:ext cx="860380" cy="380763"/>
            <a:chOff x="7785295" y="939169"/>
            <a:chExt cx="860380" cy="380763"/>
          </a:xfrm>
        </p:grpSpPr>
        <p:sp>
          <p:nvSpPr>
            <p:cNvPr id="14" name="OTLSHAPE_M_9b39fefad822441faaec2498033d8bd1_Shape">
              <a:extLst>
                <a:ext uri="{FF2B5EF4-FFF2-40B4-BE49-F238E27FC236}">
                  <a16:creationId xmlns:a16="http://schemas.microsoft.com/office/drawing/2014/main" id="{93132AC7-EF85-45C7-B056-56E251875F9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6200000" flipV="1">
              <a:off x="7782024" y="942440"/>
              <a:ext cx="265347" cy="258805"/>
            </a:xfrm>
            <a:prstGeom prst="triangle">
              <a:avLst/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latin typeface="+mj-lt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4A82C06-DAF3-44CB-B0CE-23F26C3ED464}"/>
                </a:ext>
              </a:extLst>
            </p:cNvPr>
            <p:cNvSpPr txBox="1"/>
            <p:nvPr/>
          </p:nvSpPr>
          <p:spPr>
            <a:xfrm>
              <a:off x="8044100" y="950600"/>
              <a:ext cx="601575" cy="369332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ru-RU" sz="900" spc="-4" dirty="0">
                  <a:solidFill>
                    <a:schemeClr val="dk1"/>
                  </a:solidFill>
                </a:rPr>
                <a:t>Пример</a:t>
              </a:r>
            </a:p>
            <a:p>
              <a:r>
                <a:rPr lang="ru-RU" sz="900" spc="-4" dirty="0">
                  <a:solidFill>
                    <a:schemeClr val="dk1"/>
                  </a:solidFill>
                </a:rPr>
                <a:t>текста</a:t>
              </a:r>
              <a:endParaRPr lang="en-US" sz="900" spc="-4" dirty="0">
                <a:solidFill>
                  <a:schemeClr val="dk1"/>
                </a:solidFill>
              </a:endParaRPr>
            </a:p>
          </p:txBody>
        </p:sp>
      </p:grpSp>
      <p:cxnSp>
        <p:nvCxnSpPr>
          <p:cNvPr id="16" name="OTLSHAPE_M_9b39fefad822441faaec2498033d8bd1_Connector1">
            <a:extLst>
              <a:ext uri="{FF2B5EF4-FFF2-40B4-BE49-F238E27FC236}">
                <a16:creationId xmlns:a16="http://schemas.microsoft.com/office/drawing/2014/main" id="{F4B49903-4AD7-4552-91B1-AAA54CE4499C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3377125" y="1490476"/>
            <a:ext cx="0" cy="994452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21">
            <a:extLst>
              <a:ext uri="{FF2B5EF4-FFF2-40B4-BE49-F238E27FC236}">
                <a16:creationId xmlns:a16="http://schemas.microsoft.com/office/drawing/2014/main" id="{A48713D9-1A12-4A11-B16E-F16EBC0D22CA}"/>
              </a:ext>
            </a:extLst>
          </p:cNvPr>
          <p:cNvGrpSpPr/>
          <p:nvPr/>
        </p:nvGrpSpPr>
        <p:grpSpPr>
          <a:xfrm>
            <a:off x="3377125" y="1490476"/>
            <a:ext cx="860380" cy="380763"/>
            <a:chOff x="7785295" y="939169"/>
            <a:chExt cx="860380" cy="380763"/>
          </a:xfrm>
        </p:grpSpPr>
        <p:sp>
          <p:nvSpPr>
            <p:cNvPr id="18" name="OTLSHAPE_M_9b39fefad822441faaec2498033d8bd1_Shape">
              <a:extLst>
                <a:ext uri="{FF2B5EF4-FFF2-40B4-BE49-F238E27FC236}">
                  <a16:creationId xmlns:a16="http://schemas.microsoft.com/office/drawing/2014/main" id="{03F4A5A6-43EA-4552-9879-F366F2B8B5F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 rot="16200000" flipV="1">
              <a:off x="7782024" y="942440"/>
              <a:ext cx="265347" cy="258805"/>
            </a:xfrm>
            <a:prstGeom prst="triangle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+mj-lt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AAD55BB-8FA2-40AB-B8BC-2E10A85EDAF6}"/>
                </a:ext>
              </a:extLst>
            </p:cNvPr>
            <p:cNvSpPr txBox="1"/>
            <p:nvPr/>
          </p:nvSpPr>
          <p:spPr>
            <a:xfrm>
              <a:off x="8044100" y="950600"/>
              <a:ext cx="601575" cy="369332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ru-RU" sz="900" spc="-4" dirty="0">
                  <a:solidFill>
                    <a:schemeClr val="dk1"/>
                  </a:solidFill>
                  <a:latin typeface="+mj-lt"/>
                </a:rPr>
                <a:t>Пример</a:t>
              </a:r>
            </a:p>
            <a:p>
              <a:r>
                <a:rPr lang="ru-RU" sz="900" spc="-4" dirty="0">
                  <a:solidFill>
                    <a:schemeClr val="dk1"/>
                  </a:solidFill>
                  <a:latin typeface="+mj-lt"/>
                </a:rPr>
                <a:t>текста</a:t>
              </a:r>
              <a:endParaRPr lang="en-US" sz="900" spc="-4" dirty="0">
                <a:solidFill>
                  <a:schemeClr val="dk1"/>
                </a:solidFill>
                <a:latin typeface="+mj-lt"/>
              </a:endParaRPr>
            </a:p>
          </p:txBody>
        </p:sp>
      </p:grpSp>
      <p:cxnSp>
        <p:nvCxnSpPr>
          <p:cNvPr id="20" name="OTLSHAPE_M_9b39fefad822441faaec2498033d8bd1_Connector1">
            <a:extLst>
              <a:ext uri="{FF2B5EF4-FFF2-40B4-BE49-F238E27FC236}">
                <a16:creationId xmlns:a16="http://schemas.microsoft.com/office/drawing/2014/main" id="{ED5C57A7-CB87-46E8-8EE2-62A6F3CAA18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0273458" y="1900282"/>
            <a:ext cx="0" cy="675911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TLSHAPE_M_9b39fefad822441faaec2498033d8bd1_Shape">
            <a:extLst>
              <a:ext uri="{FF2B5EF4-FFF2-40B4-BE49-F238E27FC236}">
                <a16:creationId xmlns:a16="http://schemas.microsoft.com/office/drawing/2014/main" id="{412B596B-C8DF-4233-AF3C-4165BB8B813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 flipV="1">
            <a:off x="10270187" y="1903553"/>
            <a:ext cx="265347" cy="258805"/>
          </a:xfrm>
          <a:prstGeom prst="triangle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+mj-l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96F72F4-CAF2-4C44-884E-6AFB3A819E17}"/>
              </a:ext>
            </a:extLst>
          </p:cNvPr>
          <p:cNvSpPr txBox="1"/>
          <p:nvPr/>
        </p:nvSpPr>
        <p:spPr>
          <a:xfrm>
            <a:off x="10532263" y="1911713"/>
            <a:ext cx="601575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ru-RU" sz="900" spc="-4" dirty="0">
                <a:solidFill>
                  <a:schemeClr val="dk1"/>
                </a:solidFill>
              </a:rPr>
              <a:t>Пример</a:t>
            </a:r>
          </a:p>
          <a:p>
            <a:r>
              <a:rPr lang="ru-RU" sz="900" spc="-4" dirty="0">
                <a:solidFill>
                  <a:schemeClr val="dk1"/>
                </a:solidFill>
              </a:rPr>
              <a:t>текста</a:t>
            </a:r>
            <a:endParaRPr lang="en-US" sz="900" spc="-4" dirty="0">
              <a:solidFill>
                <a:schemeClr val="dk1"/>
              </a:solidFill>
            </a:endParaRPr>
          </a:p>
        </p:txBody>
      </p:sp>
      <p:graphicFrame>
        <p:nvGraphicFramePr>
          <p:cNvPr id="24" name="Table 2">
            <a:extLst>
              <a:ext uri="{FF2B5EF4-FFF2-40B4-BE49-F238E27FC236}">
                <a16:creationId xmlns:a16="http://schemas.microsoft.com/office/drawing/2014/main" id="{442A0451-C78F-4E0F-9EDA-E8D010BCB1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2389048"/>
              </p:ext>
            </p:extLst>
          </p:nvPr>
        </p:nvGraphicFramePr>
        <p:xfrm>
          <a:off x="1660123" y="2299508"/>
          <a:ext cx="10051872" cy="3329219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837656">
                  <a:extLst>
                    <a:ext uri="{9D8B030D-6E8A-4147-A177-3AD203B41FA5}">
                      <a16:colId xmlns:a16="http://schemas.microsoft.com/office/drawing/2014/main" val="4056824194"/>
                    </a:ext>
                  </a:extLst>
                </a:gridCol>
                <a:gridCol w="837656">
                  <a:extLst>
                    <a:ext uri="{9D8B030D-6E8A-4147-A177-3AD203B41FA5}">
                      <a16:colId xmlns:a16="http://schemas.microsoft.com/office/drawing/2014/main" val="1445035748"/>
                    </a:ext>
                  </a:extLst>
                </a:gridCol>
                <a:gridCol w="837656">
                  <a:extLst>
                    <a:ext uri="{9D8B030D-6E8A-4147-A177-3AD203B41FA5}">
                      <a16:colId xmlns:a16="http://schemas.microsoft.com/office/drawing/2014/main" val="145952281"/>
                    </a:ext>
                  </a:extLst>
                </a:gridCol>
                <a:gridCol w="837656">
                  <a:extLst>
                    <a:ext uri="{9D8B030D-6E8A-4147-A177-3AD203B41FA5}">
                      <a16:colId xmlns:a16="http://schemas.microsoft.com/office/drawing/2014/main" val="4165456940"/>
                    </a:ext>
                  </a:extLst>
                </a:gridCol>
                <a:gridCol w="837656">
                  <a:extLst>
                    <a:ext uri="{9D8B030D-6E8A-4147-A177-3AD203B41FA5}">
                      <a16:colId xmlns:a16="http://schemas.microsoft.com/office/drawing/2014/main" val="2916789707"/>
                    </a:ext>
                  </a:extLst>
                </a:gridCol>
                <a:gridCol w="837656">
                  <a:extLst>
                    <a:ext uri="{9D8B030D-6E8A-4147-A177-3AD203B41FA5}">
                      <a16:colId xmlns:a16="http://schemas.microsoft.com/office/drawing/2014/main" val="2181663660"/>
                    </a:ext>
                  </a:extLst>
                </a:gridCol>
                <a:gridCol w="837656">
                  <a:extLst>
                    <a:ext uri="{9D8B030D-6E8A-4147-A177-3AD203B41FA5}">
                      <a16:colId xmlns:a16="http://schemas.microsoft.com/office/drawing/2014/main" val="1469822132"/>
                    </a:ext>
                  </a:extLst>
                </a:gridCol>
                <a:gridCol w="837656">
                  <a:extLst>
                    <a:ext uri="{9D8B030D-6E8A-4147-A177-3AD203B41FA5}">
                      <a16:colId xmlns:a16="http://schemas.microsoft.com/office/drawing/2014/main" val="3965276697"/>
                    </a:ext>
                  </a:extLst>
                </a:gridCol>
                <a:gridCol w="837656">
                  <a:extLst>
                    <a:ext uri="{9D8B030D-6E8A-4147-A177-3AD203B41FA5}">
                      <a16:colId xmlns:a16="http://schemas.microsoft.com/office/drawing/2014/main" val="3851522278"/>
                    </a:ext>
                  </a:extLst>
                </a:gridCol>
                <a:gridCol w="837656">
                  <a:extLst>
                    <a:ext uri="{9D8B030D-6E8A-4147-A177-3AD203B41FA5}">
                      <a16:colId xmlns:a16="http://schemas.microsoft.com/office/drawing/2014/main" val="1809877522"/>
                    </a:ext>
                  </a:extLst>
                </a:gridCol>
                <a:gridCol w="837656">
                  <a:extLst>
                    <a:ext uri="{9D8B030D-6E8A-4147-A177-3AD203B41FA5}">
                      <a16:colId xmlns:a16="http://schemas.microsoft.com/office/drawing/2014/main" val="3268185573"/>
                    </a:ext>
                  </a:extLst>
                </a:gridCol>
                <a:gridCol w="837656">
                  <a:extLst>
                    <a:ext uri="{9D8B030D-6E8A-4147-A177-3AD203B41FA5}">
                      <a16:colId xmlns:a16="http://schemas.microsoft.com/office/drawing/2014/main" val="17080001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Январь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Февраль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Март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Апрель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M</a:t>
                      </a:r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ай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Июнь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Июль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Август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Сентябрь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Октябрь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Ноябрь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Декабрь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129157"/>
                  </a:ext>
                </a:extLst>
              </a:tr>
              <a:tr h="2958379"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2830215"/>
                  </a:ext>
                </a:extLst>
              </a:tr>
            </a:tbl>
          </a:graphicData>
        </a:graphic>
      </p:graphicFrame>
      <p:graphicFrame>
        <p:nvGraphicFramePr>
          <p:cNvPr id="25" name="Table 94">
            <a:extLst>
              <a:ext uri="{FF2B5EF4-FFF2-40B4-BE49-F238E27FC236}">
                <a16:creationId xmlns:a16="http://schemas.microsoft.com/office/drawing/2014/main" id="{8F729E0D-27BC-4A38-9D95-3EB1EF1E9C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22927"/>
              </p:ext>
            </p:extLst>
          </p:nvPr>
        </p:nvGraphicFramePr>
        <p:xfrm>
          <a:off x="587375" y="2914827"/>
          <a:ext cx="1070772" cy="2595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0772">
                  <a:extLst>
                    <a:ext uri="{9D8B030D-6E8A-4147-A177-3AD203B41FA5}">
                      <a16:colId xmlns:a16="http://schemas.microsoft.com/office/drawing/2014/main" val="40568241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200" b="0" dirty="0"/>
                        <a:t>Текст</a:t>
                      </a:r>
                      <a:endParaRPr lang="en-US" sz="1200" b="0" dirty="0"/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1291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100" dirty="0"/>
                        <a:t>Задача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897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100" dirty="0"/>
                        <a:t>Задача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73160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100" dirty="0"/>
                        <a:t>Задача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11304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200" b="0" dirty="0">
                          <a:solidFill>
                            <a:schemeClr val="tx1"/>
                          </a:solidFill>
                        </a:rPr>
                        <a:t>Текст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88389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100" dirty="0"/>
                        <a:t>Задача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8177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100" dirty="0"/>
                        <a:t>Задача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37292"/>
                  </a:ext>
                </a:extLst>
              </a:tr>
            </a:tbl>
          </a:graphicData>
        </a:graphic>
      </p:graphicFrame>
      <p:sp>
        <p:nvSpPr>
          <p:cNvPr id="26" name="Rectangle 3">
            <a:extLst>
              <a:ext uri="{FF2B5EF4-FFF2-40B4-BE49-F238E27FC236}">
                <a16:creationId xmlns:a16="http://schemas.microsoft.com/office/drawing/2014/main" id="{03F358DF-1DF8-4344-80E4-F3B8FFD808A7}"/>
              </a:ext>
            </a:extLst>
          </p:cNvPr>
          <p:cNvSpPr/>
          <p:nvPr/>
        </p:nvSpPr>
        <p:spPr>
          <a:xfrm>
            <a:off x="1925098" y="2987852"/>
            <a:ext cx="5268182" cy="22589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 b="1" dirty="0">
                <a:solidFill>
                  <a:schemeClr val="accent5"/>
                </a:solidFill>
              </a:rPr>
              <a:t>95%</a:t>
            </a:r>
          </a:p>
        </p:txBody>
      </p:sp>
      <p:sp>
        <p:nvSpPr>
          <p:cNvPr id="27" name="Rectangle 95">
            <a:extLst>
              <a:ext uri="{FF2B5EF4-FFF2-40B4-BE49-F238E27FC236}">
                <a16:creationId xmlns:a16="http://schemas.microsoft.com/office/drawing/2014/main" id="{79B760D8-06FA-42C1-BF16-D47FDEB801E8}"/>
              </a:ext>
            </a:extLst>
          </p:cNvPr>
          <p:cNvSpPr/>
          <p:nvPr/>
        </p:nvSpPr>
        <p:spPr>
          <a:xfrm>
            <a:off x="1925097" y="3356676"/>
            <a:ext cx="1763303" cy="2258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accent4"/>
                </a:solidFill>
              </a:rPr>
              <a:t>100%</a:t>
            </a:r>
          </a:p>
        </p:txBody>
      </p:sp>
      <p:sp>
        <p:nvSpPr>
          <p:cNvPr id="28" name="Rectangle 96">
            <a:extLst>
              <a:ext uri="{FF2B5EF4-FFF2-40B4-BE49-F238E27FC236}">
                <a16:creationId xmlns:a16="http://schemas.microsoft.com/office/drawing/2014/main" id="{C1C2D56B-8B5B-4923-B83F-6AECB34305FD}"/>
              </a:ext>
            </a:extLst>
          </p:cNvPr>
          <p:cNvSpPr/>
          <p:nvPr/>
        </p:nvSpPr>
        <p:spPr>
          <a:xfrm>
            <a:off x="3065555" y="3725500"/>
            <a:ext cx="1763303" cy="2258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accent4"/>
                </a:solidFill>
              </a:rPr>
              <a:t>100%</a:t>
            </a:r>
          </a:p>
        </p:txBody>
      </p:sp>
      <p:sp>
        <p:nvSpPr>
          <p:cNvPr id="29" name="Rectangle 97">
            <a:extLst>
              <a:ext uri="{FF2B5EF4-FFF2-40B4-BE49-F238E27FC236}">
                <a16:creationId xmlns:a16="http://schemas.microsoft.com/office/drawing/2014/main" id="{8AE27907-1797-49DF-B507-F084CC3C9186}"/>
              </a:ext>
            </a:extLst>
          </p:cNvPr>
          <p:cNvSpPr/>
          <p:nvPr/>
        </p:nvSpPr>
        <p:spPr>
          <a:xfrm>
            <a:off x="4348400" y="4094324"/>
            <a:ext cx="2844880" cy="2258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accent4"/>
                </a:solidFill>
              </a:rPr>
              <a:t>95%</a:t>
            </a:r>
          </a:p>
        </p:txBody>
      </p:sp>
      <p:sp>
        <p:nvSpPr>
          <p:cNvPr id="30" name="Rectangle 98">
            <a:extLst>
              <a:ext uri="{FF2B5EF4-FFF2-40B4-BE49-F238E27FC236}">
                <a16:creationId xmlns:a16="http://schemas.microsoft.com/office/drawing/2014/main" id="{6E2480F0-3719-44DD-81F8-2C7859D642FA}"/>
              </a:ext>
            </a:extLst>
          </p:cNvPr>
          <p:cNvSpPr/>
          <p:nvPr/>
        </p:nvSpPr>
        <p:spPr>
          <a:xfrm>
            <a:off x="7193280" y="4463148"/>
            <a:ext cx="3811270" cy="2258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000">
              <a:solidFill>
                <a:schemeClr val="accent5"/>
              </a:solidFill>
            </a:endParaRPr>
          </a:p>
        </p:txBody>
      </p:sp>
      <p:sp>
        <p:nvSpPr>
          <p:cNvPr id="31" name="Rectangle 99">
            <a:extLst>
              <a:ext uri="{FF2B5EF4-FFF2-40B4-BE49-F238E27FC236}">
                <a16:creationId xmlns:a16="http://schemas.microsoft.com/office/drawing/2014/main" id="{693A01A5-7517-46D4-AEDA-684B6A6F496A}"/>
              </a:ext>
            </a:extLst>
          </p:cNvPr>
          <p:cNvSpPr/>
          <p:nvPr/>
        </p:nvSpPr>
        <p:spPr>
          <a:xfrm>
            <a:off x="7193280" y="4831972"/>
            <a:ext cx="1312859" cy="22589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20%</a:t>
            </a:r>
          </a:p>
        </p:txBody>
      </p:sp>
      <p:sp>
        <p:nvSpPr>
          <p:cNvPr id="32" name="Rectangle 100">
            <a:extLst>
              <a:ext uri="{FF2B5EF4-FFF2-40B4-BE49-F238E27FC236}">
                <a16:creationId xmlns:a16="http://schemas.microsoft.com/office/drawing/2014/main" id="{BEC92D15-173F-46B9-91A2-084CB3C19D8F}"/>
              </a:ext>
            </a:extLst>
          </p:cNvPr>
          <p:cNvSpPr/>
          <p:nvPr/>
        </p:nvSpPr>
        <p:spPr>
          <a:xfrm>
            <a:off x="7624487" y="5200794"/>
            <a:ext cx="3380063" cy="22589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5%</a:t>
            </a:r>
          </a:p>
        </p:txBody>
      </p:sp>
      <p:sp>
        <p:nvSpPr>
          <p:cNvPr id="33" name="Rectangle 102">
            <a:extLst>
              <a:ext uri="{FF2B5EF4-FFF2-40B4-BE49-F238E27FC236}">
                <a16:creationId xmlns:a16="http://schemas.microsoft.com/office/drawing/2014/main" id="{477D391A-EA42-4D04-B2AB-E0D2A84D7248}"/>
              </a:ext>
            </a:extLst>
          </p:cNvPr>
          <p:cNvSpPr/>
          <p:nvPr/>
        </p:nvSpPr>
        <p:spPr>
          <a:xfrm>
            <a:off x="1509881" y="2987852"/>
            <a:ext cx="91440" cy="22589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103">
            <a:extLst>
              <a:ext uri="{FF2B5EF4-FFF2-40B4-BE49-F238E27FC236}">
                <a16:creationId xmlns:a16="http://schemas.microsoft.com/office/drawing/2014/main" id="{FA4DE62E-0A23-4401-B984-C3792CDBB4CD}"/>
              </a:ext>
            </a:extLst>
          </p:cNvPr>
          <p:cNvSpPr/>
          <p:nvPr/>
        </p:nvSpPr>
        <p:spPr>
          <a:xfrm>
            <a:off x="1509881" y="3356676"/>
            <a:ext cx="91440" cy="2258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104">
            <a:extLst>
              <a:ext uri="{FF2B5EF4-FFF2-40B4-BE49-F238E27FC236}">
                <a16:creationId xmlns:a16="http://schemas.microsoft.com/office/drawing/2014/main" id="{2A35155E-4B91-42D5-9226-69E801AEB0BC}"/>
              </a:ext>
            </a:extLst>
          </p:cNvPr>
          <p:cNvSpPr/>
          <p:nvPr/>
        </p:nvSpPr>
        <p:spPr>
          <a:xfrm>
            <a:off x="1509881" y="3725500"/>
            <a:ext cx="91440" cy="2258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105">
            <a:extLst>
              <a:ext uri="{FF2B5EF4-FFF2-40B4-BE49-F238E27FC236}">
                <a16:creationId xmlns:a16="http://schemas.microsoft.com/office/drawing/2014/main" id="{E6159CB1-9B02-4C5F-8FAB-E88EE5D03DDC}"/>
              </a:ext>
            </a:extLst>
          </p:cNvPr>
          <p:cNvSpPr/>
          <p:nvPr/>
        </p:nvSpPr>
        <p:spPr>
          <a:xfrm>
            <a:off x="1509881" y="4094324"/>
            <a:ext cx="91440" cy="2258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106">
            <a:extLst>
              <a:ext uri="{FF2B5EF4-FFF2-40B4-BE49-F238E27FC236}">
                <a16:creationId xmlns:a16="http://schemas.microsoft.com/office/drawing/2014/main" id="{4123B05E-05A1-413C-B7FE-ECD97F49A180}"/>
              </a:ext>
            </a:extLst>
          </p:cNvPr>
          <p:cNvSpPr/>
          <p:nvPr/>
        </p:nvSpPr>
        <p:spPr>
          <a:xfrm>
            <a:off x="1509881" y="4463148"/>
            <a:ext cx="91440" cy="2258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107">
            <a:extLst>
              <a:ext uri="{FF2B5EF4-FFF2-40B4-BE49-F238E27FC236}">
                <a16:creationId xmlns:a16="http://schemas.microsoft.com/office/drawing/2014/main" id="{E4FEF97D-C762-43E1-9809-BA862E068E89}"/>
              </a:ext>
            </a:extLst>
          </p:cNvPr>
          <p:cNvSpPr/>
          <p:nvPr/>
        </p:nvSpPr>
        <p:spPr>
          <a:xfrm>
            <a:off x="1509881" y="4831972"/>
            <a:ext cx="91440" cy="2258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108">
            <a:extLst>
              <a:ext uri="{FF2B5EF4-FFF2-40B4-BE49-F238E27FC236}">
                <a16:creationId xmlns:a16="http://schemas.microsoft.com/office/drawing/2014/main" id="{D0AB28C3-95CE-4DF5-86EC-366332D28DFA}"/>
              </a:ext>
            </a:extLst>
          </p:cNvPr>
          <p:cNvSpPr/>
          <p:nvPr/>
        </p:nvSpPr>
        <p:spPr>
          <a:xfrm>
            <a:off x="1509881" y="5200794"/>
            <a:ext cx="91440" cy="2258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Arrow Connector 10">
            <a:extLst>
              <a:ext uri="{FF2B5EF4-FFF2-40B4-BE49-F238E27FC236}">
                <a16:creationId xmlns:a16="http://schemas.microsoft.com/office/drawing/2014/main" id="{422A9F74-40A6-4B8A-A5E0-85F2AF8EDF8E}"/>
              </a:ext>
            </a:extLst>
          </p:cNvPr>
          <p:cNvCxnSpPr>
            <a:endCxn id="10" idx="1"/>
          </p:cNvCxnSpPr>
          <p:nvPr/>
        </p:nvCxnSpPr>
        <p:spPr>
          <a:xfrm>
            <a:off x="1601321" y="3100798"/>
            <a:ext cx="323777" cy="0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12">
            <a:extLst>
              <a:ext uri="{FF2B5EF4-FFF2-40B4-BE49-F238E27FC236}">
                <a16:creationId xmlns:a16="http://schemas.microsoft.com/office/drawing/2014/main" id="{43753089-AF42-4831-A528-CA354F9AFCA3}"/>
              </a:ext>
            </a:extLst>
          </p:cNvPr>
          <p:cNvCxnSpPr/>
          <p:nvPr/>
        </p:nvCxnSpPr>
        <p:spPr>
          <a:xfrm>
            <a:off x="1601321" y="3469622"/>
            <a:ext cx="323776" cy="0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14">
            <a:extLst>
              <a:ext uri="{FF2B5EF4-FFF2-40B4-BE49-F238E27FC236}">
                <a16:creationId xmlns:a16="http://schemas.microsoft.com/office/drawing/2014/main" id="{425FAFDE-D914-4C4E-B946-0EFDD9D09EF9}"/>
              </a:ext>
            </a:extLst>
          </p:cNvPr>
          <p:cNvCxnSpPr>
            <a:cxnSpLocks/>
          </p:cNvCxnSpPr>
          <p:nvPr/>
        </p:nvCxnSpPr>
        <p:spPr>
          <a:xfrm>
            <a:off x="1601321" y="3838446"/>
            <a:ext cx="1464234" cy="0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17">
            <a:extLst>
              <a:ext uri="{FF2B5EF4-FFF2-40B4-BE49-F238E27FC236}">
                <a16:creationId xmlns:a16="http://schemas.microsoft.com/office/drawing/2014/main" id="{EF7267A8-28D2-4160-84C7-95FCE8C689E5}"/>
              </a:ext>
            </a:extLst>
          </p:cNvPr>
          <p:cNvCxnSpPr>
            <a:cxnSpLocks/>
          </p:cNvCxnSpPr>
          <p:nvPr/>
        </p:nvCxnSpPr>
        <p:spPr>
          <a:xfrm>
            <a:off x="1509881" y="4207270"/>
            <a:ext cx="2838519" cy="0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19">
            <a:extLst>
              <a:ext uri="{FF2B5EF4-FFF2-40B4-BE49-F238E27FC236}">
                <a16:creationId xmlns:a16="http://schemas.microsoft.com/office/drawing/2014/main" id="{F6E86B9C-C937-4EEB-9083-9C4A8983C9FE}"/>
              </a:ext>
            </a:extLst>
          </p:cNvPr>
          <p:cNvCxnSpPr>
            <a:cxnSpLocks/>
          </p:cNvCxnSpPr>
          <p:nvPr/>
        </p:nvCxnSpPr>
        <p:spPr>
          <a:xfrm>
            <a:off x="1601321" y="4576094"/>
            <a:ext cx="5591959" cy="0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22">
            <a:extLst>
              <a:ext uri="{FF2B5EF4-FFF2-40B4-BE49-F238E27FC236}">
                <a16:creationId xmlns:a16="http://schemas.microsoft.com/office/drawing/2014/main" id="{7DBF7AA1-6EF2-4145-BC4D-E1CCF8DE3794}"/>
              </a:ext>
            </a:extLst>
          </p:cNvPr>
          <p:cNvCxnSpPr/>
          <p:nvPr/>
        </p:nvCxnSpPr>
        <p:spPr>
          <a:xfrm>
            <a:off x="1601321" y="4944918"/>
            <a:ext cx="5591959" cy="0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24">
            <a:extLst>
              <a:ext uri="{FF2B5EF4-FFF2-40B4-BE49-F238E27FC236}">
                <a16:creationId xmlns:a16="http://schemas.microsoft.com/office/drawing/2014/main" id="{7DD1CE07-37C4-4947-B7D8-22FF941BB7B9}"/>
              </a:ext>
            </a:extLst>
          </p:cNvPr>
          <p:cNvCxnSpPr/>
          <p:nvPr/>
        </p:nvCxnSpPr>
        <p:spPr>
          <a:xfrm>
            <a:off x="1601321" y="5313740"/>
            <a:ext cx="6023166" cy="0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5A2684B3-5EDC-4259-B379-7F75AD8C1ED3}"/>
              </a:ext>
            </a:extLst>
          </p:cNvPr>
          <p:cNvSpPr txBox="1"/>
          <p:nvPr/>
        </p:nvSpPr>
        <p:spPr>
          <a:xfrm>
            <a:off x="7185905" y="2985380"/>
            <a:ext cx="478657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ru-RU" sz="900" spc="-4" dirty="0">
                <a:solidFill>
                  <a:schemeClr val="dk1"/>
                </a:solidFill>
              </a:rPr>
              <a:t>Текст</a:t>
            </a:r>
            <a:endParaRPr lang="en-US" sz="900" spc="-4" dirty="0">
              <a:solidFill>
                <a:schemeClr val="dk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F238DA-76E0-4FD0-81B1-13984A03B0F8}"/>
              </a:ext>
            </a:extLst>
          </p:cNvPr>
          <p:cNvSpPr txBox="1"/>
          <p:nvPr/>
        </p:nvSpPr>
        <p:spPr>
          <a:xfrm>
            <a:off x="3688400" y="3354558"/>
            <a:ext cx="478657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ru-RU" sz="900" spc="-4" dirty="0">
                <a:solidFill>
                  <a:schemeClr val="dk1"/>
                </a:solidFill>
              </a:rPr>
              <a:t>Текст</a:t>
            </a:r>
            <a:endParaRPr lang="en-US" sz="900" spc="-4" dirty="0">
              <a:solidFill>
                <a:schemeClr val="dk1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8223230-ECEF-4B5D-863E-20EF06565D2F}"/>
              </a:ext>
            </a:extLst>
          </p:cNvPr>
          <p:cNvSpPr txBox="1"/>
          <p:nvPr/>
        </p:nvSpPr>
        <p:spPr>
          <a:xfrm>
            <a:off x="4828858" y="3723028"/>
            <a:ext cx="478657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ru-RU" sz="900" spc="-4" dirty="0">
                <a:solidFill>
                  <a:schemeClr val="dk1"/>
                </a:solidFill>
              </a:rPr>
              <a:t>Текст</a:t>
            </a:r>
            <a:endParaRPr lang="en-US" sz="900" spc="-4" dirty="0">
              <a:solidFill>
                <a:schemeClr val="dk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D9B19BA-3751-441C-96A8-3DDE4476AFDA}"/>
              </a:ext>
            </a:extLst>
          </p:cNvPr>
          <p:cNvSpPr txBox="1"/>
          <p:nvPr/>
        </p:nvSpPr>
        <p:spPr>
          <a:xfrm>
            <a:off x="7191751" y="4088906"/>
            <a:ext cx="973087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ru-RU" sz="900" spc="-4" dirty="0">
                <a:solidFill>
                  <a:schemeClr val="dk1"/>
                </a:solidFill>
              </a:rPr>
              <a:t>Пример текста</a:t>
            </a:r>
            <a:endParaRPr lang="en-US" sz="900" spc="-4" dirty="0">
              <a:solidFill>
                <a:schemeClr val="dk1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817B211-8366-4324-9C0D-482E2C94D052}"/>
              </a:ext>
            </a:extLst>
          </p:cNvPr>
          <p:cNvSpPr txBox="1"/>
          <p:nvPr/>
        </p:nvSpPr>
        <p:spPr>
          <a:xfrm>
            <a:off x="11006526" y="4459560"/>
            <a:ext cx="478657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ru-RU" sz="900" spc="-4" dirty="0">
                <a:solidFill>
                  <a:schemeClr val="dk1"/>
                </a:solidFill>
              </a:rPr>
              <a:t>Текст</a:t>
            </a:r>
            <a:endParaRPr lang="en-US" sz="900" spc="-4" dirty="0">
              <a:solidFill>
                <a:schemeClr val="dk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C42D947-9C00-4681-8B3F-E84852DA1D87}"/>
              </a:ext>
            </a:extLst>
          </p:cNvPr>
          <p:cNvSpPr txBox="1"/>
          <p:nvPr/>
        </p:nvSpPr>
        <p:spPr>
          <a:xfrm>
            <a:off x="8506139" y="4828534"/>
            <a:ext cx="478657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ru-RU" sz="900" spc="-4" dirty="0">
                <a:solidFill>
                  <a:schemeClr val="dk1"/>
                </a:solidFill>
              </a:rPr>
              <a:t>Текст</a:t>
            </a:r>
            <a:endParaRPr lang="en-US" sz="900" spc="-4" dirty="0">
              <a:solidFill>
                <a:schemeClr val="dk1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C0D7143-8D52-484C-A79A-A74A67D04404}"/>
              </a:ext>
            </a:extLst>
          </p:cNvPr>
          <p:cNvSpPr txBox="1"/>
          <p:nvPr/>
        </p:nvSpPr>
        <p:spPr>
          <a:xfrm>
            <a:off x="11006526" y="5198322"/>
            <a:ext cx="478657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ru-RU" sz="900" spc="-4" dirty="0">
                <a:solidFill>
                  <a:schemeClr val="dk1"/>
                </a:solidFill>
              </a:rPr>
              <a:t>Текст</a:t>
            </a:r>
            <a:endParaRPr lang="en-US" sz="900" spc="-4" dirty="0">
              <a:solidFill>
                <a:schemeClr val="dk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8B002A7-998D-40F2-98A6-2780E950CDF2}"/>
              </a:ext>
            </a:extLst>
          </p:cNvPr>
          <p:cNvSpPr txBox="1"/>
          <p:nvPr/>
        </p:nvSpPr>
        <p:spPr>
          <a:xfrm>
            <a:off x="479426" y="2258842"/>
            <a:ext cx="895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2020</a:t>
            </a:r>
          </a:p>
        </p:txBody>
      </p:sp>
      <p:grpSp>
        <p:nvGrpSpPr>
          <p:cNvPr id="55" name="Group 130">
            <a:extLst>
              <a:ext uri="{FF2B5EF4-FFF2-40B4-BE49-F238E27FC236}">
                <a16:creationId xmlns:a16="http://schemas.microsoft.com/office/drawing/2014/main" id="{5D8275CB-0D47-4D94-A229-6F18F9FFA961}"/>
              </a:ext>
            </a:extLst>
          </p:cNvPr>
          <p:cNvGrpSpPr/>
          <p:nvPr/>
        </p:nvGrpSpPr>
        <p:grpSpPr>
          <a:xfrm>
            <a:off x="1742212" y="5794806"/>
            <a:ext cx="1119991" cy="230832"/>
            <a:chOff x="1579251" y="5839879"/>
            <a:chExt cx="1119991" cy="230832"/>
          </a:xfrm>
        </p:grpSpPr>
        <p:sp>
          <p:nvSpPr>
            <p:cNvPr id="56" name="Rectangle 128">
              <a:extLst>
                <a:ext uri="{FF2B5EF4-FFF2-40B4-BE49-F238E27FC236}">
                  <a16:creationId xmlns:a16="http://schemas.microsoft.com/office/drawing/2014/main" id="{E1E551AA-E353-4B6E-B1BB-DEC7ED1244AF}"/>
                </a:ext>
              </a:extLst>
            </p:cNvPr>
            <p:cNvSpPr/>
            <p:nvPr/>
          </p:nvSpPr>
          <p:spPr>
            <a:xfrm>
              <a:off x="1579251" y="5904854"/>
              <a:ext cx="119766" cy="10088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1000">
                <a:solidFill>
                  <a:schemeClr val="accent5"/>
                </a:solidFill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B032EFD7-A06E-4731-8C21-5A988D74290A}"/>
                </a:ext>
              </a:extLst>
            </p:cNvPr>
            <p:cNvSpPr txBox="1"/>
            <p:nvPr/>
          </p:nvSpPr>
          <p:spPr>
            <a:xfrm>
              <a:off x="1699017" y="5839879"/>
              <a:ext cx="1000225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-RU" sz="900" spc="-4" dirty="0">
                  <a:solidFill>
                    <a:schemeClr val="dk1"/>
                  </a:solidFill>
                  <a:latin typeface="+mj-lt"/>
                </a:rPr>
                <a:t>Текст</a:t>
              </a:r>
              <a:endParaRPr lang="en-US" sz="900" spc="-4" dirty="0">
                <a:solidFill>
                  <a:schemeClr val="dk1"/>
                </a:solidFill>
                <a:latin typeface="+mj-lt"/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5C0F854C-6B9D-45EB-94D2-D3BE0D1CA627}"/>
              </a:ext>
            </a:extLst>
          </p:cNvPr>
          <p:cNvSpPr txBox="1"/>
          <p:nvPr/>
        </p:nvSpPr>
        <p:spPr>
          <a:xfrm>
            <a:off x="10845910" y="5641122"/>
            <a:ext cx="923571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ru-RU" sz="1100" spc="-4" dirty="0">
                <a:solidFill>
                  <a:schemeClr val="accent3"/>
                </a:solidFill>
                <a:latin typeface="Arial" panose="020B0604020202020204" pitchFamily="34" charset="0"/>
              </a:rPr>
              <a:t>Текст</a:t>
            </a:r>
            <a:endParaRPr lang="en-US" sz="1100" spc="-4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grpSp>
        <p:nvGrpSpPr>
          <p:cNvPr id="61" name="Group 68">
            <a:extLst>
              <a:ext uri="{FF2B5EF4-FFF2-40B4-BE49-F238E27FC236}">
                <a16:creationId xmlns:a16="http://schemas.microsoft.com/office/drawing/2014/main" id="{6C78070D-D8F1-45C3-86F8-512871C4A241}"/>
              </a:ext>
            </a:extLst>
          </p:cNvPr>
          <p:cNvGrpSpPr/>
          <p:nvPr/>
        </p:nvGrpSpPr>
        <p:grpSpPr>
          <a:xfrm>
            <a:off x="2331492" y="5794806"/>
            <a:ext cx="1119991" cy="230832"/>
            <a:chOff x="1579251" y="5839879"/>
            <a:chExt cx="1119991" cy="230832"/>
          </a:xfrm>
        </p:grpSpPr>
        <p:sp>
          <p:nvSpPr>
            <p:cNvPr id="62" name="Rectangle 69">
              <a:extLst>
                <a:ext uri="{FF2B5EF4-FFF2-40B4-BE49-F238E27FC236}">
                  <a16:creationId xmlns:a16="http://schemas.microsoft.com/office/drawing/2014/main" id="{F790B0D8-D752-4A6E-B885-254F215EC1E4}"/>
                </a:ext>
              </a:extLst>
            </p:cNvPr>
            <p:cNvSpPr/>
            <p:nvPr/>
          </p:nvSpPr>
          <p:spPr>
            <a:xfrm>
              <a:off x="1579251" y="5904854"/>
              <a:ext cx="119766" cy="10088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1000">
                <a:solidFill>
                  <a:schemeClr val="accent5"/>
                </a:solidFill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410DE14-E27A-466C-9913-7F06E806A7B5}"/>
                </a:ext>
              </a:extLst>
            </p:cNvPr>
            <p:cNvSpPr txBox="1"/>
            <p:nvPr/>
          </p:nvSpPr>
          <p:spPr>
            <a:xfrm>
              <a:off x="1699017" y="5839879"/>
              <a:ext cx="1000225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-RU" sz="900" spc="-4" dirty="0">
                  <a:solidFill>
                    <a:schemeClr val="dk1"/>
                  </a:solidFill>
                  <a:latin typeface="+mj-lt"/>
                </a:rPr>
                <a:t>Текст</a:t>
              </a:r>
              <a:endParaRPr lang="en-US" sz="900" spc="-4" dirty="0">
                <a:solidFill>
                  <a:schemeClr val="dk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28140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СОЗДАВАЯ БУДУЩЕЕ</a:t>
            </a:r>
          </a:p>
        </p:txBody>
      </p:sp>
    </p:spTree>
    <p:extLst>
      <p:ext uri="{BB962C8B-B14F-4D97-AF65-F5344CB8AC3E}">
        <p14:creationId xmlns:p14="http://schemas.microsoft.com/office/powerpoint/2010/main" val="212500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424934"/>
            <a:ext cx="9185563" cy="1118127"/>
          </a:xfr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 hangingPunct="0">
              <a:lnSpc>
                <a:spcPct val="100000"/>
              </a:lnSpc>
            </a:pPr>
            <a:r>
              <a:rPr lang="ru-RU" sz="3333" b="1" cap="all" dirty="0">
                <a:solidFill>
                  <a:srgbClr val="484852"/>
                </a:solidFill>
                <a:sym typeface="Calibri"/>
              </a:rPr>
              <a:t>Инструкция к Подготовке</a:t>
            </a:r>
            <a:br>
              <a:rPr lang="ru-RU" sz="3333" b="1" cap="all" dirty="0">
                <a:solidFill>
                  <a:srgbClr val="484852"/>
                </a:solidFill>
                <a:sym typeface="Calibri"/>
              </a:rPr>
            </a:br>
            <a:r>
              <a:rPr lang="ru-RU" sz="3333" b="1" cap="all" dirty="0">
                <a:solidFill>
                  <a:srgbClr val="484852"/>
                </a:solidFill>
                <a:sym typeface="Calibri"/>
              </a:rPr>
              <a:t>презентаци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751183"/>
            <a:ext cx="10515600" cy="563231"/>
          </a:xfr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 marL="0" indent="0" hangingPunct="0">
              <a:spcBef>
                <a:spcPts val="0"/>
              </a:spcBef>
              <a:buNone/>
            </a:pPr>
            <a:r>
              <a:rPr lang="ru-RU" sz="1700" i="1" dirty="0">
                <a:solidFill>
                  <a:srgbClr val="DE2840"/>
                </a:solidFill>
                <a:latin typeface="+mj-lt"/>
                <a:ea typeface="+mj-ea"/>
                <a:cs typeface="+mj-cs"/>
              </a:rPr>
              <a:t>Вы можете выбрать свой план изложения, при этом обязательно должны присутствовать следующие ключевые моменты:</a:t>
            </a:r>
          </a:p>
        </p:txBody>
      </p:sp>
      <p:sp>
        <p:nvSpPr>
          <p:cNvPr id="4" name="Прямоугольник 4"/>
          <p:cNvSpPr txBox="1"/>
          <p:nvPr/>
        </p:nvSpPr>
        <p:spPr>
          <a:xfrm>
            <a:off x="839688" y="2410488"/>
            <a:ext cx="10326153" cy="4563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lnSpc>
                <a:spcPct val="90000"/>
              </a:lnSpc>
              <a:defRPr sz="1300">
                <a:solidFill>
                  <a:srgbClr val="484852"/>
                </a:solidFill>
                <a:latin typeface="Proxima Nova"/>
                <a:ea typeface="Proxima Nova"/>
                <a:cs typeface="Proxima Nova"/>
              </a:defRPr>
            </a:lvl1pPr>
          </a:lstStyle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. Кратко описана проблемная ситуация, которая была решена или будет решена с помощью вашей идеи  (внутренние и внешние условия, в которых происходят события)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38200" y="2999608"/>
            <a:ext cx="6558280" cy="276294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>
              <a:lnSpc>
                <a:spcPct val="90000"/>
              </a:lnSpc>
            </a:pPr>
            <a:r>
              <a:rPr lang="ru-RU" sz="1300" dirty="0">
                <a:solidFill>
                  <a:srgbClr val="484852"/>
                </a:solidFill>
                <a:latin typeface="Arial" panose="020B0604020202020204" pitchFamily="34" charset="0"/>
                <a:ea typeface="Proxima Nova"/>
                <a:cs typeface="Arial" panose="020B0604020202020204" pitchFamily="34" charset="0"/>
              </a:rPr>
              <a:t>2. Обозначены: цели, задачи, исполнители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38200" y="3483558"/>
            <a:ext cx="9585960" cy="996491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>
              <a:lnSpc>
                <a:spcPct val="90000"/>
              </a:lnSpc>
            </a:pPr>
            <a:r>
              <a:rPr lang="ru-RU" sz="1300" dirty="0">
                <a:solidFill>
                  <a:srgbClr val="484852"/>
                </a:solidFill>
                <a:latin typeface="Arial" panose="020B0604020202020204" pitchFamily="34" charset="0"/>
                <a:ea typeface="Proxima Nova"/>
                <a:cs typeface="Arial" panose="020B0604020202020204" pitchFamily="34" charset="0"/>
              </a:rPr>
              <a:t>3. Описано решение которое было разработано и внедрен или предлагается к разработке/внедрению:</a:t>
            </a:r>
          </a:p>
          <a:p>
            <a:pPr marL="623872" indent="-26669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484852"/>
                </a:solidFill>
                <a:latin typeface="Arial" panose="020B0604020202020204" pitchFamily="34" charset="0"/>
                <a:ea typeface="Proxima Nova"/>
                <a:cs typeface="Arial" panose="020B0604020202020204" pitchFamily="34" charset="0"/>
              </a:rPr>
              <a:t>Конкретизированы предпринятые/планируемые шаги</a:t>
            </a:r>
          </a:p>
          <a:p>
            <a:pPr marL="623872" indent="-26669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484852"/>
                </a:solidFill>
                <a:latin typeface="Arial" panose="020B0604020202020204" pitchFamily="34" charset="0"/>
                <a:ea typeface="Proxima Nova"/>
                <a:cs typeface="Arial" panose="020B0604020202020204" pitchFamily="34" charset="0"/>
              </a:rPr>
              <a:t>Обозначены процессы, которые были/будут созданы/оптимизированы </a:t>
            </a:r>
          </a:p>
          <a:p>
            <a:pPr marL="623872" indent="-26669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484852"/>
                </a:solidFill>
                <a:latin typeface="Arial" panose="020B0604020202020204" pitchFamily="34" charset="0"/>
                <a:ea typeface="Proxima Nova"/>
                <a:cs typeface="Arial" panose="020B0604020202020204" pitchFamily="34" charset="0"/>
              </a:rPr>
              <a:t>Описаны инструменты, которые были/будут внедрены</a:t>
            </a:r>
          </a:p>
          <a:p>
            <a:pPr marL="623872" indent="-26669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484852"/>
                </a:solidFill>
                <a:latin typeface="Arial" panose="020B0604020202020204" pitchFamily="34" charset="0"/>
                <a:ea typeface="Proxima Nova"/>
                <a:cs typeface="Arial" panose="020B0604020202020204" pitchFamily="34" charset="0"/>
              </a:rPr>
              <a:t>Указаны ресурсы, которые были/будут задействован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38200" y="4610500"/>
            <a:ext cx="10515600" cy="456343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>
              <a:lnSpc>
                <a:spcPct val="90000"/>
              </a:lnSpc>
            </a:pPr>
            <a:r>
              <a:rPr lang="ru-RU" sz="1300" dirty="0">
                <a:solidFill>
                  <a:srgbClr val="484852"/>
                </a:solidFill>
                <a:latin typeface="Arial" panose="020B0604020202020204" pitchFamily="34" charset="0"/>
                <a:ea typeface="Proxima Nova"/>
                <a:cs typeface="Arial" panose="020B0604020202020204" pitchFamily="34" charset="0"/>
              </a:rPr>
              <a:t>4. Сформулированы основные сложности и риски, с которыми пришлось столкнуться или которые прогнозируются в процессе внедрения идеи и описаны способы их минимизации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38200" y="5283416"/>
            <a:ext cx="9819640" cy="276294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>
              <a:lnSpc>
                <a:spcPct val="90000"/>
              </a:lnSpc>
            </a:pPr>
            <a:r>
              <a:rPr lang="ru-RU" sz="1300" dirty="0">
                <a:solidFill>
                  <a:srgbClr val="484852"/>
                </a:solidFill>
                <a:latin typeface="Arial" panose="020B0604020202020204" pitchFamily="34" charset="0"/>
                <a:ea typeface="Proxima Nova"/>
                <a:cs typeface="Arial" panose="020B0604020202020204" pitchFamily="34" charset="0"/>
              </a:rPr>
              <a:t>5. Сформулированы полученные или прогнозируемые результаты и их взаимосвязь с решением исходной проблемы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38200" y="5832037"/>
            <a:ext cx="10515600" cy="456343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>
              <a:lnSpc>
                <a:spcPct val="90000"/>
              </a:lnSpc>
            </a:pPr>
            <a:r>
              <a:rPr lang="ru-RU" sz="1300" dirty="0">
                <a:solidFill>
                  <a:srgbClr val="484852"/>
                </a:solidFill>
                <a:latin typeface="Arial" panose="020B0604020202020204" pitchFamily="34" charset="0"/>
                <a:ea typeface="Proxima Nova"/>
                <a:cs typeface="Arial" panose="020B0604020202020204" pitchFamily="34" charset="0"/>
              </a:rPr>
              <a:t>6. Предложены варианты применения данной практики для других предприятий и организаций, для которых актуально решение такой задачи.</a:t>
            </a:r>
          </a:p>
        </p:txBody>
      </p:sp>
    </p:spTree>
    <p:extLst>
      <p:ext uri="{BB962C8B-B14F-4D97-AF65-F5344CB8AC3E}">
        <p14:creationId xmlns:p14="http://schemas.microsoft.com/office/powerpoint/2010/main" val="131538674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Фамилия Имя Отчество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Должность докладчик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519113" y="1679575"/>
            <a:ext cx="5045075" cy="1169988"/>
          </a:xfrm>
        </p:spPr>
        <p:txBody>
          <a:bodyPr/>
          <a:lstStyle/>
          <a:p>
            <a:r>
              <a:rPr lang="ru-RU" dirty="0"/>
              <a:t>ЗАГОЛОВОК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7578442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01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Пример подзаголовка слайда презентации</a:t>
            </a:r>
          </a:p>
          <a:p>
            <a:r>
              <a:rPr lang="ru-RU" dirty="0"/>
              <a:t>Пример подзаголовка слайда презентации</a:t>
            </a:r>
          </a:p>
          <a:p>
            <a:r>
              <a:rPr lang="ru-RU" dirty="0"/>
              <a:t>Пример подзаголовка слайда презентации</a:t>
            </a:r>
          </a:p>
          <a:p>
            <a:r>
              <a:rPr lang="ru-RU" dirty="0"/>
              <a:t>Пример подзаголовка слайда презентаци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24</a:t>
            </a:r>
          </a:p>
          <a:p>
            <a:r>
              <a:rPr lang="en-US" dirty="0"/>
              <a:t>24</a:t>
            </a:r>
          </a:p>
          <a:p>
            <a:r>
              <a:rPr lang="en-US" dirty="0"/>
              <a:t>24</a:t>
            </a:r>
          </a:p>
          <a:p>
            <a:r>
              <a:rPr lang="en-US" dirty="0"/>
              <a:t>24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7"/>
          </p:nvPr>
        </p:nvSpPr>
        <p:spPr>
          <a:xfrm>
            <a:off x="1522413" y="1800225"/>
            <a:ext cx="6454775" cy="446088"/>
          </a:xfrm>
        </p:spPr>
        <p:txBody>
          <a:bodyPr/>
          <a:lstStyle/>
          <a:p>
            <a:r>
              <a:rPr lang="ru-RU" dirty="0"/>
              <a:t>ПРИМЕР ЗАГОЛОВКА</a:t>
            </a:r>
          </a:p>
        </p:txBody>
      </p:sp>
      <p:sp>
        <p:nvSpPr>
          <p:cNvPr id="8" name="Текст 15"/>
          <p:cNvSpPr txBox="1">
            <a:spLocks/>
          </p:cNvSpPr>
          <p:nvPr/>
        </p:nvSpPr>
        <p:spPr>
          <a:xfrm>
            <a:off x="524477" y="4051808"/>
            <a:ext cx="997110" cy="5699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kern="120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3"/>
                </a:solidFill>
              </a:rPr>
              <a:t>02</a:t>
            </a:r>
          </a:p>
        </p:txBody>
      </p:sp>
      <p:sp>
        <p:nvSpPr>
          <p:cNvPr id="9" name="Текст 16"/>
          <p:cNvSpPr txBox="1">
            <a:spLocks/>
          </p:cNvSpPr>
          <p:nvPr/>
        </p:nvSpPr>
        <p:spPr>
          <a:xfrm>
            <a:off x="1523764" y="4053597"/>
            <a:ext cx="9216245" cy="508000"/>
          </a:xfrm>
          <a:prstGeom prst="rect">
            <a:avLst/>
          </a:prstGeom>
        </p:spPr>
        <p:txBody>
          <a:bodyPr/>
          <a:lstStyle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3600" b="0" i="0" spc="-150" baseline="0" dirty="0">
                <a:solidFill>
                  <a:srgbClr val="80BC00"/>
                </a:solidFill>
                <a:latin typeface="Proxima Nova Extra Condensed Li" panose="02000506030000020004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latin typeface="Arial Narrow" panose="020B0604020202020204" pitchFamily="34" charset="0"/>
              </a:rPr>
              <a:t>ПРИМЕР ЗАГОЛОВКА</a:t>
            </a:r>
          </a:p>
        </p:txBody>
      </p:sp>
      <p:sp>
        <p:nvSpPr>
          <p:cNvPr id="10" name="Текст 17"/>
          <p:cNvSpPr txBox="1">
            <a:spLocks/>
          </p:cNvSpPr>
          <p:nvPr/>
        </p:nvSpPr>
        <p:spPr>
          <a:xfrm>
            <a:off x="1521587" y="4563830"/>
            <a:ext cx="7987665" cy="166284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Пример подзаголовка слайда презентации</a:t>
            </a:r>
          </a:p>
          <a:p>
            <a:r>
              <a:rPr lang="ru-RU"/>
              <a:t>Пример подзаголовка слайда презентации</a:t>
            </a:r>
          </a:p>
          <a:p>
            <a:r>
              <a:rPr lang="ru-RU"/>
              <a:t>Пример подзаголовка слайда презентации</a:t>
            </a:r>
          </a:p>
          <a:p>
            <a:r>
              <a:rPr lang="ru-RU"/>
              <a:t>Пример подзаголовка слайда презентации</a:t>
            </a:r>
            <a:endParaRPr lang="ru-RU" dirty="0"/>
          </a:p>
        </p:txBody>
      </p:sp>
      <p:sp>
        <p:nvSpPr>
          <p:cNvPr id="11" name="Текст 5"/>
          <p:cNvSpPr txBox="1">
            <a:spLocks/>
          </p:cNvSpPr>
          <p:nvPr/>
        </p:nvSpPr>
        <p:spPr>
          <a:xfrm>
            <a:off x="7008175" y="4696874"/>
            <a:ext cx="968375" cy="16752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24</a:t>
            </a:r>
          </a:p>
          <a:p>
            <a:r>
              <a:rPr lang="en-US"/>
              <a:t>24</a:t>
            </a:r>
          </a:p>
          <a:p>
            <a:r>
              <a:rPr lang="en-US"/>
              <a:t>24</a:t>
            </a:r>
          </a:p>
          <a:p>
            <a:r>
              <a:rPr lang="en-US"/>
              <a:t>2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02837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800" dirty="0">
                <a:solidFill>
                  <a:srgbClr val="80BC00"/>
                </a:solidFill>
              </a:rPr>
              <a:t>ЦЕЛИ</a:t>
            </a:r>
          </a:p>
          <a:p>
            <a:r>
              <a:rPr lang="ru-RU" dirty="0"/>
              <a:t>Корпорация призвана содействовать  </a:t>
            </a:r>
            <a:r>
              <a:rPr lang="en-US" dirty="0"/>
              <a:t> </a:t>
            </a:r>
            <a:r>
              <a:rPr lang="ru-RU" dirty="0"/>
              <a:t>разработке, производству и экспорту высокотехнологичной промышленной</a:t>
            </a:r>
            <a:r>
              <a:rPr lang="en-US" dirty="0"/>
              <a:t> </a:t>
            </a:r>
            <a:r>
              <a:rPr lang="ru-RU" dirty="0"/>
              <a:t>продукции путем обеспечения поддержки на внутреннем и внешнем рынках российских организаций — разработчиков и</a:t>
            </a:r>
            <a:r>
              <a:rPr lang="en-US" dirty="0"/>
              <a:t> </a:t>
            </a:r>
            <a:r>
              <a:rPr lang="ru-RU" dirty="0"/>
              <a:t>производителей высокотехнологичной</a:t>
            </a:r>
            <a:r>
              <a:rPr lang="en-US" dirty="0"/>
              <a:t> </a:t>
            </a:r>
            <a:r>
              <a:rPr lang="ru-RU" dirty="0"/>
              <a:t>промышленной</a:t>
            </a:r>
            <a:r>
              <a:rPr lang="en-US" dirty="0"/>
              <a:t> </a:t>
            </a:r>
            <a:r>
              <a:rPr lang="ru-RU" dirty="0"/>
              <a:t>продукции, а также путем привлечения инвестиций в организации различных</a:t>
            </a:r>
            <a:r>
              <a:rPr lang="en-US" dirty="0"/>
              <a:t> </a:t>
            </a:r>
            <a:r>
              <a:rPr lang="ru-RU" dirty="0"/>
              <a:t>отраслей промышленности, включая</a:t>
            </a:r>
            <a:r>
              <a:rPr lang="en-US" dirty="0"/>
              <a:t> </a:t>
            </a:r>
            <a:r>
              <a:rPr lang="ru-RU" dirty="0"/>
              <a:t>оборонно-промышленный комплекс.</a:t>
            </a:r>
          </a:p>
          <a:p>
            <a:endParaRPr lang="ru-RU" sz="1800" dirty="0"/>
          </a:p>
          <a:p>
            <a:r>
              <a:rPr lang="ru-RU" sz="1800" dirty="0">
                <a:solidFill>
                  <a:srgbClr val="80BC00"/>
                </a:solidFill>
              </a:rPr>
              <a:t>МИССИЯ</a:t>
            </a:r>
            <a:endParaRPr lang="en-US" sz="1800" dirty="0">
              <a:solidFill>
                <a:srgbClr val="80BC00"/>
              </a:solidFill>
            </a:endParaRPr>
          </a:p>
          <a:p>
            <a:r>
              <a:rPr lang="ru-RU" dirty="0"/>
              <a:t>Повышение качества жизни людей через создание высокотехнологичных</a:t>
            </a:r>
            <a:r>
              <a:rPr lang="en-US" dirty="0"/>
              <a:t> </a:t>
            </a:r>
            <a:r>
              <a:rPr lang="ru-RU" dirty="0"/>
              <a:t>«умных» продуктов.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20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6229638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800" dirty="0">
                <a:solidFill>
                  <a:srgbClr val="80BC00"/>
                </a:solidFill>
              </a:rPr>
              <a:t>ЦЕЛИ</a:t>
            </a:r>
          </a:p>
          <a:p>
            <a:r>
              <a:rPr lang="ru-RU" dirty="0"/>
              <a:t>Корпорация призвана содействовать   разработке, производству и экспорту высокотехнологичной промышленной продукции путем обеспечения поддержки на внутреннем и внешнем рынках российских организаций — разработчиков и производителей высокотехнологичной промышленной   продукции, а также путем привлечения инвестиций в организации различных      отраслей промышленности, включая     оборонно-промышленный комплекс.</a:t>
            </a:r>
          </a:p>
        </p:txBody>
      </p:sp>
      <p:pic>
        <p:nvPicPr>
          <p:cNvPr id="11" name="Рисунок 10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6" r="3486"/>
          <a:stretch/>
        </p:blipFill>
        <p:spPr/>
      </p:pic>
      <p:sp>
        <p:nvSpPr>
          <p:cNvPr id="9" name="Текст 8"/>
          <p:cNvSpPr>
            <a:spLocks noGrp="1"/>
          </p:cNvSpPr>
          <p:nvPr>
            <p:ph type="body" sz="quarter" idx="20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А</a:t>
            </a:r>
          </a:p>
          <a:p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773344" y="3925614"/>
            <a:ext cx="2131678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0" kern="9600" spc="-500" baseline="30000" dirty="0">
                <a:solidFill>
                  <a:schemeClr val="accent3"/>
                </a:solidFill>
                <a:latin typeface="+mj-lt"/>
              </a:rPr>
              <a:t>15</a:t>
            </a:r>
            <a:endParaRPr lang="ru-RU" sz="8000" kern="9600" spc="-500" baseline="300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773344" y="4422412"/>
            <a:ext cx="1969342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ru-RU" sz="1400" dirty="0">
                <a:solidFill>
                  <a:schemeClr val="accent3"/>
                </a:solidFill>
                <a:latin typeface="+mj-lt"/>
              </a:rPr>
              <a:t>холдинговых компаний</a:t>
            </a:r>
          </a:p>
          <a:p>
            <a:pPr>
              <a:lnSpc>
                <a:spcPts val="1800"/>
              </a:lnSpc>
            </a:pPr>
            <a:r>
              <a:rPr lang="ru-RU" sz="1400" dirty="0">
                <a:latin typeface="+mj-lt"/>
              </a:rPr>
              <a:t>в большинстве</a:t>
            </a:r>
          </a:p>
          <a:p>
            <a:pPr>
              <a:lnSpc>
                <a:spcPts val="1800"/>
              </a:lnSpc>
            </a:pPr>
            <a:r>
              <a:rPr lang="ru-RU" sz="1400" dirty="0">
                <a:latin typeface="+mj-lt"/>
              </a:rPr>
              <a:t>отраслей российской</a:t>
            </a:r>
          </a:p>
          <a:p>
            <a:pPr>
              <a:lnSpc>
                <a:spcPts val="1800"/>
              </a:lnSpc>
            </a:pPr>
            <a:r>
              <a:rPr lang="ru-RU" sz="1400" dirty="0">
                <a:latin typeface="+mj-lt"/>
              </a:rPr>
              <a:t>промышленност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55972" y="3925614"/>
            <a:ext cx="2131678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0" kern="9600" spc="-500" baseline="30000" dirty="0">
                <a:solidFill>
                  <a:schemeClr val="accent3"/>
                </a:solidFill>
                <a:latin typeface="+mj-lt"/>
              </a:rPr>
              <a:t>&gt;</a:t>
            </a:r>
            <a:r>
              <a:rPr lang="ru-RU" sz="8000" kern="9600" spc="-500" baseline="30000" dirty="0">
                <a:solidFill>
                  <a:schemeClr val="accent3"/>
                </a:solidFill>
                <a:latin typeface="+mj-lt"/>
              </a:rPr>
              <a:t>800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873786" y="4422412"/>
            <a:ext cx="2131678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ru-RU" sz="1400" dirty="0">
                <a:solidFill>
                  <a:schemeClr val="accent3"/>
                </a:solidFill>
                <a:latin typeface="+mj-lt"/>
              </a:rPr>
              <a:t>организаций</a:t>
            </a:r>
          </a:p>
          <a:p>
            <a:pPr>
              <a:lnSpc>
                <a:spcPts val="1800"/>
              </a:lnSpc>
            </a:pPr>
            <a:r>
              <a:rPr lang="ru-RU" sz="1400" dirty="0">
                <a:latin typeface="+mj-lt"/>
              </a:rPr>
              <a:t>в 60 регионах —</a:t>
            </a:r>
          </a:p>
          <a:p>
            <a:pPr>
              <a:lnSpc>
                <a:spcPts val="1800"/>
              </a:lnSpc>
            </a:pPr>
            <a:r>
              <a:rPr lang="ru-RU" sz="1400" dirty="0">
                <a:latin typeface="+mj-lt"/>
              </a:rPr>
              <a:t>в т. ч. более 200</a:t>
            </a:r>
          </a:p>
          <a:p>
            <a:pPr>
              <a:lnSpc>
                <a:spcPts val="1800"/>
              </a:lnSpc>
            </a:pPr>
            <a:r>
              <a:rPr lang="ru-RU" sz="1400" dirty="0">
                <a:latin typeface="+mj-lt"/>
              </a:rPr>
              <a:t>научных </a:t>
            </a:r>
          </a:p>
          <a:p>
            <a:pPr>
              <a:lnSpc>
                <a:spcPts val="1800"/>
              </a:lnSpc>
            </a:pPr>
            <a:r>
              <a:rPr lang="ru-RU" sz="1400" dirty="0">
                <a:latin typeface="+mj-lt"/>
              </a:rPr>
              <a:t>организаций</a:t>
            </a:r>
          </a:p>
        </p:txBody>
      </p:sp>
    </p:spTree>
    <p:extLst>
      <p:ext uri="{BB962C8B-B14F-4D97-AF65-F5344CB8AC3E}">
        <p14:creationId xmlns:p14="http://schemas.microsoft.com/office/powerpoint/2010/main" val="8032408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1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Крупнейшее российское предприятие по производству грузовых автомобилей. Компания включает в себя более 150 организаций, расположенных в России, СНГ и дальнем зарубежье.</a:t>
            </a:r>
          </a:p>
          <a:p>
            <a:r>
              <a:rPr lang="ru-RU" dirty="0"/>
              <a:t>Единый производственный комплекс группы организаций ПАО «КАМАЗ» охватывает весь технологический цикл производства грузовых автомобилей, от разработки до сбыта готовой продукции и сервисного сопровождения.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ru-RU" dirty="0"/>
              <a:t>Крупнейшее российское предприятие по производству грузовых автомобилей. Компания включает в себя более 150 организаций, расположенных в России, СНГ и дальнем зарубежье.</a:t>
            </a:r>
          </a:p>
          <a:p>
            <a:r>
              <a:rPr lang="ru-RU" dirty="0"/>
              <a:t>Единый производственный комплекс группы организаций ПАО «КАМАЗ» охватывает весь технологический цикл производства грузовых автомобилей, от разработки до сбыта готовой продукции и сервисного сопровождения.</a:t>
            </a:r>
          </a:p>
        </p:txBody>
      </p:sp>
      <p:pic>
        <p:nvPicPr>
          <p:cNvPr id="15" name="Рисунок 14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" r="260"/>
          <a:stretch>
            <a:fillRect/>
          </a:stretch>
        </p:blipFill>
        <p:spPr/>
      </p:pic>
      <p:pic>
        <p:nvPicPr>
          <p:cNvPr id="16" name="Рисунок 15"/>
          <p:cNvPicPr>
            <a:picLocks noGrp="1" noChangeAspect="1"/>
          </p:cNvPicPr>
          <p:nvPr>
            <p:ph type="pic"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" r="439"/>
          <a:stretch>
            <a:fillRect/>
          </a:stretch>
        </p:blipFill>
        <p:spPr/>
      </p:pic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Заголовок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ru-RU" dirty="0"/>
              <a:t>Заголовок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23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15902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  <a:p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АО «</a:t>
            </a:r>
            <a:r>
              <a:rPr lang="ru-RU" dirty="0" err="1"/>
              <a:t>Росэлектроника</a:t>
            </a:r>
            <a:r>
              <a:rPr lang="ru-RU" dirty="0"/>
              <a:t>» объединяет предприятия электронной отрасли, специализирующиеся на разработке и производстве электронно-компонентной базы, изделий электронной техники, электронных материалов и оборудования для их изготовления, а также СВЧ-техники и полупроводниковых приборов.</a:t>
            </a:r>
          </a:p>
          <a:p>
            <a:r>
              <a:rPr lang="ru-RU" dirty="0"/>
              <a:t>Одним из главных событий 2016 года в области разработок стало создание прототипа аппаратуры передачи данных, полностью построенной на отечественной элементной базе. Аппаратура предназначена для создания портативных радиостанций с защищенным каналом связи.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Заголовок 1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ru-RU" dirty="0"/>
              <a:t>Крупнейшее предприятие Российской Федерации в области информационной безопасности, разработки и производства технических средств и систем засекреченной связи, защищенных информационно-телекоммуникационных систем, а также систем автоматизированного управления специального назначения.</a:t>
            </a: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ru-RU" dirty="0"/>
              <a:t>Заголовок 2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22"/>
          </p:nvPr>
        </p:nvSpPr>
        <p:spPr>
          <a:xfrm>
            <a:off x="7984617" y="2157636"/>
            <a:ext cx="3190489" cy="4038331"/>
          </a:xfrm>
        </p:spPr>
        <p:txBody>
          <a:bodyPr/>
          <a:lstStyle/>
          <a:p>
            <a:r>
              <a:rPr lang="ru-RU" dirty="0"/>
              <a:t>Холдинг разработчиков и производителей высокотехнологичной оптической продукции. Холдинг объединяет несколько десятков организаций, в том числе 19 предприятий, составляющих основное ядро оптической отрасли промышленности.</a:t>
            </a:r>
          </a:p>
          <a:p>
            <a:r>
              <a:rPr lang="ru-RU" dirty="0"/>
              <a:t>Сегодня портфель объектов интеллектуальной собственности холдинга составляет более 1 800 единиц. Номенклатура выпускаемой продукции превышает 6 500 единиц.</a:t>
            </a:r>
          </a:p>
          <a:p>
            <a:r>
              <a:rPr lang="ru-RU" dirty="0"/>
              <a:t>Изделия холдинга успешно замещают импорт и подтверждают высокий национальный научно-технический потенциал в 95 странах мира.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ru-RU" dirty="0"/>
              <a:t>Заголовок 3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24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3640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1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Подзаголовок слайда</a:t>
            </a:r>
          </a:p>
          <a:p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ph type="tbl" sz="quarter" idx="20"/>
            <p:extLst>
              <p:ext uri="{D42A27DB-BD31-4B8C-83A1-F6EECF244321}">
                <p14:modId xmlns:p14="http://schemas.microsoft.com/office/powerpoint/2010/main" val="1317900404"/>
              </p:ext>
            </p:extLst>
          </p:nvPr>
        </p:nvGraphicFramePr>
        <p:xfrm>
          <a:off x="606425" y="1460500"/>
          <a:ext cx="10899775" cy="430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4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7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479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479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58800">
                <a:tc>
                  <a:txBody>
                    <a:bodyPr/>
                    <a:lstStyle/>
                    <a:p>
                      <a:endParaRPr lang="ru-RU" sz="2200" b="0" spc="-15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2200" b="0" spc="-15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200" b="0" spc="-150" baseline="0" dirty="0">
                          <a:solidFill>
                            <a:schemeClr val="tx1"/>
                          </a:solidFill>
                        </a:rPr>
                        <a:t>201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200" b="0" spc="-150" baseline="0" dirty="0">
                          <a:solidFill>
                            <a:schemeClr val="accent3"/>
                          </a:solidFill>
                        </a:rPr>
                        <a:t>202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2200" b="0" spc="-15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6000">
                <a:tc>
                  <a:txBody>
                    <a:bodyPr/>
                    <a:lstStyle/>
                    <a:p>
                      <a:pPr>
                        <a:lnSpc>
                          <a:spcPts val="2340"/>
                        </a:lnSpc>
                      </a:pPr>
                      <a:r>
                        <a:rPr lang="ru-RU" sz="2200" spc="-150" baseline="0" dirty="0">
                          <a:solidFill>
                            <a:schemeClr val="tx1"/>
                          </a:solidFill>
                        </a:rPr>
                        <a:t>Произвольный показатель</a:t>
                      </a:r>
                    </a:p>
                  </a:txBody>
                  <a:tcPr marL="14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340"/>
                        </a:lnSpc>
                      </a:pPr>
                      <a:r>
                        <a:rPr lang="ru-RU" sz="2200" spc="-150" baseline="0" dirty="0">
                          <a:solidFill>
                            <a:schemeClr val="tx1"/>
                          </a:solidFill>
                        </a:rPr>
                        <a:t>Ед.</a:t>
                      </a:r>
                    </a:p>
                    <a:p>
                      <a:pPr algn="l">
                        <a:lnSpc>
                          <a:spcPts val="2340"/>
                        </a:lnSpc>
                      </a:pPr>
                      <a:r>
                        <a:rPr lang="ru-RU" sz="2200" spc="-150" baseline="0" dirty="0" err="1">
                          <a:solidFill>
                            <a:schemeClr val="tx1"/>
                          </a:solidFill>
                        </a:rPr>
                        <a:t>изм</a:t>
                      </a:r>
                      <a:endParaRPr lang="ru-RU" sz="2200" spc="-150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5000" spc="-150" baseline="0" dirty="0">
                          <a:solidFill>
                            <a:schemeClr val="tx1"/>
                          </a:solidFill>
                        </a:rPr>
                        <a:t>51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5000" spc="-150" baseline="0" dirty="0">
                          <a:solidFill>
                            <a:schemeClr val="accent3"/>
                          </a:solidFill>
                        </a:rPr>
                        <a:t>130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5000" spc="-150" baseline="0" dirty="0">
                          <a:solidFill>
                            <a:schemeClr val="accent4"/>
                          </a:solidFill>
                        </a:rPr>
                        <a:t>+156</a:t>
                      </a:r>
                      <a:r>
                        <a:rPr lang="en-US" sz="5000" spc="-150" baseline="0" dirty="0">
                          <a:solidFill>
                            <a:schemeClr val="accent4"/>
                          </a:solidFill>
                        </a:rPr>
                        <a:t>%</a:t>
                      </a:r>
                      <a:endParaRPr lang="ru-RU" sz="5000" spc="-150" baseline="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3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234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spc="-150" baseline="0" dirty="0">
                          <a:solidFill>
                            <a:schemeClr val="tx1"/>
                          </a:solidFill>
                        </a:rPr>
                        <a:t>Произвольный показатель</a:t>
                      </a:r>
                    </a:p>
                  </a:txBody>
                  <a:tcPr marL="14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340"/>
                        </a:lnSpc>
                      </a:pPr>
                      <a:r>
                        <a:rPr lang="ru-RU" sz="2200" spc="-150" baseline="0" dirty="0">
                          <a:solidFill>
                            <a:schemeClr val="tx1"/>
                          </a:solidFill>
                        </a:rPr>
                        <a:t>Ед.</a:t>
                      </a:r>
                    </a:p>
                    <a:p>
                      <a:pPr algn="l">
                        <a:lnSpc>
                          <a:spcPts val="2340"/>
                        </a:lnSpc>
                      </a:pPr>
                      <a:r>
                        <a:rPr lang="ru-RU" sz="2200" spc="-150" baseline="0" dirty="0" err="1">
                          <a:solidFill>
                            <a:schemeClr val="tx1"/>
                          </a:solidFill>
                        </a:rPr>
                        <a:t>изм</a:t>
                      </a:r>
                      <a:endParaRPr lang="ru-RU" sz="2200" spc="-150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5000" spc="-150" baseline="0" dirty="0">
                          <a:solidFill>
                            <a:schemeClr val="tx1"/>
                          </a:solidFill>
                        </a:rPr>
                        <a:t>51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5000" spc="-150" baseline="0" dirty="0">
                          <a:solidFill>
                            <a:schemeClr val="accent3"/>
                          </a:solidFill>
                        </a:rPr>
                        <a:t>130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5000" spc="-150" baseline="0" dirty="0">
                          <a:solidFill>
                            <a:schemeClr val="accent4"/>
                          </a:solidFill>
                        </a:rPr>
                        <a:t>+156</a:t>
                      </a:r>
                      <a:r>
                        <a:rPr lang="en-US" sz="5000" spc="-150" baseline="0" dirty="0">
                          <a:solidFill>
                            <a:schemeClr val="accent4"/>
                          </a:solidFill>
                        </a:rPr>
                        <a:t>%</a:t>
                      </a:r>
                      <a:endParaRPr lang="ru-RU" sz="5000" spc="-150" baseline="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3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234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spc="-150" baseline="0" dirty="0">
                          <a:solidFill>
                            <a:schemeClr val="tx1"/>
                          </a:solidFill>
                        </a:rPr>
                        <a:t>Произвольный показатель</a:t>
                      </a:r>
                    </a:p>
                  </a:txBody>
                  <a:tcPr marL="14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340"/>
                        </a:lnSpc>
                      </a:pPr>
                      <a:r>
                        <a:rPr lang="ru-RU" sz="2200" spc="-150" baseline="0" dirty="0">
                          <a:solidFill>
                            <a:schemeClr val="tx1"/>
                          </a:solidFill>
                        </a:rPr>
                        <a:t>Ед.</a:t>
                      </a:r>
                    </a:p>
                    <a:p>
                      <a:pPr algn="l">
                        <a:lnSpc>
                          <a:spcPts val="2340"/>
                        </a:lnSpc>
                      </a:pPr>
                      <a:r>
                        <a:rPr lang="ru-RU" sz="2200" spc="-150" baseline="0" dirty="0" err="1">
                          <a:solidFill>
                            <a:schemeClr val="tx1"/>
                          </a:solidFill>
                        </a:rPr>
                        <a:t>изм</a:t>
                      </a:r>
                      <a:endParaRPr lang="ru-RU" sz="2200" spc="-150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5000" spc="-150" baseline="0" dirty="0">
                          <a:solidFill>
                            <a:schemeClr val="tx1"/>
                          </a:solidFill>
                        </a:rPr>
                        <a:t>51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5000" spc="-150" baseline="0" dirty="0">
                          <a:solidFill>
                            <a:schemeClr val="accent3"/>
                          </a:solidFill>
                        </a:rPr>
                        <a:t>130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5000" spc="-150" baseline="0" dirty="0">
                          <a:solidFill>
                            <a:schemeClr val="accent4"/>
                          </a:solidFill>
                        </a:rPr>
                        <a:t>+156</a:t>
                      </a:r>
                      <a:r>
                        <a:rPr lang="en-US" sz="5000" spc="-150" baseline="0" dirty="0">
                          <a:solidFill>
                            <a:schemeClr val="accent4"/>
                          </a:solidFill>
                        </a:rPr>
                        <a:t>%</a:t>
                      </a:r>
                      <a:endParaRPr lang="ru-RU" sz="5000" spc="-150" baseline="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3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234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spc="-150" baseline="0" dirty="0">
                          <a:solidFill>
                            <a:schemeClr val="tx1"/>
                          </a:solidFill>
                        </a:rPr>
                        <a:t>Произвольный показатель</a:t>
                      </a:r>
                    </a:p>
                  </a:txBody>
                  <a:tcPr marL="14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340"/>
                        </a:lnSpc>
                      </a:pPr>
                      <a:r>
                        <a:rPr lang="ru-RU" sz="2200" spc="-150" baseline="0" dirty="0">
                          <a:solidFill>
                            <a:schemeClr val="tx1"/>
                          </a:solidFill>
                        </a:rPr>
                        <a:t>Ед.</a:t>
                      </a:r>
                    </a:p>
                    <a:p>
                      <a:pPr algn="l">
                        <a:lnSpc>
                          <a:spcPts val="2340"/>
                        </a:lnSpc>
                      </a:pPr>
                      <a:r>
                        <a:rPr lang="ru-RU" sz="2200" spc="-150" baseline="0" dirty="0" err="1">
                          <a:solidFill>
                            <a:schemeClr val="tx1"/>
                          </a:solidFill>
                        </a:rPr>
                        <a:t>изм</a:t>
                      </a:r>
                      <a:endParaRPr lang="ru-RU" sz="2200" spc="-150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5000" spc="-150" baseline="0" dirty="0">
                          <a:solidFill>
                            <a:schemeClr val="tx1"/>
                          </a:solidFill>
                        </a:rPr>
                        <a:t>51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5000" spc="-150" baseline="0" dirty="0">
                          <a:solidFill>
                            <a:schemeClr val="accent3"/>
                          </a:solidFill>
                        </a:rPr>
                        <a:t>130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5000" spc="-150" baseline="0" dirty="0">
                          <a:solidFill>
                            <a:schemeClr val="accent4"/>
                          </a:solidFill>
                        </a:rPr>
                        <a:t>+156</a:t>
                      </a:r>
                      <a:r>
                        <a:rPr lang="en-US" sz="5000" spc="-150" baseline="0" dirty="0">
                          <a:solidFill>
                            <a:schemeClr val="accent4"/>
                          </a:solidFill>
                        </a:rPr>
                        <a:t>%</a:t>
                      </a:r>
                      <a:endParaRPr lang="ru-RU" sz="5000" spc="-150" baseline="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Текст 9"/>
          <p:cNvSpPr>
            <a:spLocks noGrp="1"/>
          </p:cNvSpPr>
          <p:nvPr>
            <p:ph type="body" sz="quarter" idx="21"/>
          </p:nvPr>
        </p:nvSpPr>
        <p:spPr>
          <a:xfrm>
            <a:off x="860425" y="390525"/>
            <a:ext cx="5064125" cy="303213"/>
          </a:xfrm>
        </p:spPr>
        <p:txBody>
          <a:bodyPr/>
          <a:lstStyle/>
          <a:p>
            <a:r>
              <a:rPr lang="ru-RU" dirty="0"/>
              <a:t>ЗАГОЛОВОК СЛАЙД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0612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1879519-a3f4-43fb-b049-f63ca3484243"/>
  <p:tag name="MIO_EKGUID" val="c9163688-79e3-4f37-9993-8094dfebeecd"/>
  <p:tag name="MIO_UPDATE" val="True"/>
  <p:tag name="MIO_VERSION" val="27.01.2017 17:46:31"/>
  <p:tag name="MIO_DBID" val="FD168E44-D19A-49E0-8D8E-6CA0A525F0E0"/>
  <p:tag name="MIO_LASTDOWNLOADED" val="18.06.2018 15:51:30"/>
  <p:tag name="MIO_OBJECTNAME" val="Table Option 1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Тема Office">
  <a:themeElements>
    <a:clrScheme name="Custom 1">
      <a:dk1>
        <a:srgbClr val="000000"/>
      </a:dk1>
      <a:lt1>
        <a:srgbClr val="FFFFFF"/>
      </a:lt1>
      <a:dk2>
        <a:srgbClr val="829199"/>
      </a:dk2>
      <a:lt2>
        <a:srgbClr val="E7E6E6"/>
      </a:lt2>
      <a:accent1>
        <a:srgbClr val="829199"/>
      </a:accent1>
      <a:accent2>
        <a:srgbClr val="236192"/>
      </a:accent2>
      <a:accent3>
        <a:srgbClr val="80BC00"/>
      </a:accent3>
      <a:accent4>
        <a:srgbClr val="98AAB3"/>
      </a:accent4>
      <a:accent5>
        <a:srgbClr val="B5C0C6"/>
      </a:accent5>
      <a:accent6>
        <a:srgbClr val="CDDEE6"/>
      </a:accent6>
      <a:hlink>
        <a:srgbClr val="236192"/>
      </a:hlink>
      <a:folHlink>
        <a:srgbClr val="82919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565</TotalTime>
  <Words>999</Words>
  <Application>Microsoft Macintosh PowerPoint</Application>
  <PresentationFormat>Widescreen</PresentationFormat>
  <Paragraphs>262</Paragraphs>
  <Slides>19</Slides>
  <Notes>2</Notes>
  <HiddenSlides>1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Arial</vt:lpstr>
      <vt:lpstr>Wingdings</vt:lpstr>
      <vt:lpstr>Arial Narrow</vt:lpstr>
      <vt:lpstr>Тема Office</vt:lpstr>
      <vt:lpstr>PowerPoint Presentation</vt:lpstr>
      <vt:lpstr>Инструкция к Подготовке презентации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Leonid Suschev</cp:lastModifiedBy>
  <cp:revision>632</cp:revision>
  <cp:lastPrinted>2021-09-20T13:17:57Z</cp:lastPrinted>
  <dcterms:created xsi:type="dcterms:W3CDTF">2019-07-17T09:00:18Z</dcterms:created>
  <dcterms:modified xsi:type="dcterms:W3CDTF">2022-05-24T13:01:57Z</dcterms:modified>
</cp:coreProperties>
</file>